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6" r:id="rId5"/>
    <p:sldMasterId id="2147483682" r:id="rId6"/>
  </p:sldMasterIdLst>
  <p:notesMasterIdLst>
    <p:notesMasterId r:id="rId24"/>
  </p:notesMasterIdLst>
  <p:handoutMasterIdLst>
    <p:handoutMasterId r:id="rId25"/>
  </p:handoutMasterIdLst>
  <p:sldIdLst>
    <p:sldId id="256" r:id="rId7"/>
    <p:sldId id="268" r:id="rId8"/>
    <p:sldId id="270" r:id="rId9"/>
    <p:sldId id="269" r:id="rId10"/>
    <p:sldId id="293" r:id="rId11"/>
    <p:sldId id="272" r:id="rId12"/>
    <p:sldId id="271" r:id="rId13"/>
    <p:sldId id="273" r:id="rId14"/>
    <p:sldId id="274" r:id="rId15"/>
    <p:sldId id="282" r:id="rId16"/>
    <p:sldId id="277" r:id="rId17"/>
    <p:sldId id="276" r:id="rId18"/>
    <p:sldId id="283" r:id="rId19"/>
    <p:sldId id="279" r:id="rId20"/>
    <p:sldId id="278" r:id="rId21"/>
    <p:sldId id="280" r:id="rId22"/>
    <p:sldId id="281" r:id="rId23"/>
  </p:sldIdLst>
  <p:sldSz cx="20104100" cy="11309350"/>
  <p:notesSz cx="20104100" cy="11309350"/>
  <p:custDataLst>
    <p:tags r:id="rId26"/>
  </p:custDataLst>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35B430C-F070-7583-5D8A-660901464DBC}" name="Nour Oueidat (MiddleEast)" initials="NO" userId="S::nour.oueidat@pwc.com::bf9ed187-e063-431a-9a93-91a583fcc18b" providerId="AD"/>
  <p188:author id="{4815619F-EE01-2FA3-A4DE-4BB0DE5F77F8}" name="Nour Oueidat (MiddleEast)" initials="NO(" userId="S::nour.oueidat@strategyand.ae.pwc.com::bf9ed187-e063-431a-9a93-91a583fcc18b" providerId="AD"/>
  <p188:author id="{881B20A6-FE9D-788A-0FA4-006C54E77865}" name="nouf Baadheem (MiddleEast)" initials="nB" userId="S::nouf.baadheem@pwc.com::41063f5e-e0ec-4333-ae9a-8216dda6bc9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DE63CF-A239-4813-B092-0D0FA68297D9}" v="7" dt="2024-09-30T12:42:46.008"/>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33" d="100"/>
          <a:sy n="33" d="100"/>
        </p:scale>
        <p:origin x="645" y="-542"/>
      </p:cViewPr>
      <p:guideLst>
        <p:guide orient="horz" pos="2880"/>
        <p:guide pos="216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avya Madan (MiddleEast)" userId="277f7cd5-28f9-408e-9bfd-fda9e1453193" providerId="ADAL" clId="{2ADE63CF-A239-4813-B092-0D0FA68297D9}"/>
    <pc:docChg chg="custSel modSld">
      <pc:chgData name="Bhavya Madan (MiddleEast)" userId="277f7cd5-28f9-408e-9bfd-fda9e1453193" providerId="ADAL" clId="{2ADE63CF-A239-4813-B092-0D0FA68297D9}" dt="2024-09-30T12:42:46.008" v="15"/>
      <pc:docMkLst>
        <pc:docMk/>
      </pc:docMkLst>
      <pc:sldChg chg="addSp delSp modSp mod">
        <pc:chgData name="Bhavya Madan (MiddleEast)" userId="277f7cd5-28f9-408e-9bfd-fda9e1453193" providerId="ADAL" clId="{2ADE63CF-A239-4813-B092-0D0FA68297D9}" dt="2024-09-30T12:41:51.597" v="14" actId="164"/>
        <pc:sldMkLst>
          <pc:docMk/>
          <pc:sldMk cId="0" sldId="256"/>
        </pc:sldMkLst>
        <pc:grpChg chg="add mod">
          <ac:chgData name="Bhavya Madan (MiddleEast)" userId="277f7cd5-28f9-408e-9bfd-fda9e1453193" providerId="ADAL" clId="{2ADE63CF-A239-4813-B092-0D0FA68297D9}" dt="2024-09-30T12:41:51.597" v="14" actId="164"/>
          <ac:grpSpMkLst>
            <pc:docMk/>
            <pc:sldMk cId="0" sldId="256"/>
            <ac:grpSpMk id="3" creationId="{F997E1CB-B892-A8F5-DEDB-C3A98F1F0419}"/>
          </ac:grpSpMkLst>
        </pc:grpChg>
        <pc:grpChg chg="del">
          <ac:chgData name="Bhavya Madan (MiddleEast)" userId="277f7cd5-28f9-408e-9bfd-fda9e1453193" providerId="ADAL" clId="{2ADE63CF-A239-4813-B092-0D0FA68297D9}" dt="2024-09-30T12:41:18.020" v="0" actId="165"/>
          <ac:grpSpMkLst>
            <pc:docMk/>
            <pc:sldMk cId="0" sldId="256"/>
            <ac:grpSpMk id="62" creationId="{D4213B94-AC59-4B38-E5C3-C1EAAB4A10CF}"/>
          </ac:grpSpMkLst>
        </pc:grpChg>
        <pc:picChg chg="mod topLvl">
          <ac:chgData name="Bhavya Madan (MiddleEast)" userId="277f7cd5-28f9-408e-9bfd-fda9e1453193" providerId="ADAL" clId="{2ADE63CF-A239-4813-B092-0D0FA68297D9}" dt="2024-09-30T12:41:51.597" v="14" actId="164"/>
          <ac:picMkLst>
            <pc:docMk/>
            <pc:sldMk cId="0" sldId="256"/>
            <ac:picMk id="55" creationId="{79935088-8A57-9BD1-9F77-653AA632F125}"/>
          </ac:picMkLst>
        </pc:picChg>
        <pc:picChg chg="mod topLvl">
          <ac:chgData name="Bhavya Madan (MiddleEast)" userId="277f7cd5-28f9-408e-9bfd-fda9e1453193" providerId="ADAL" clId="{2ADE63CF-A239-4813-B092-0D0FA68297D9}" dt="2024-09-30T12:41:51.597" v="14" actId="164"/>
          <ac:picMkLst>
            <pc:docMk/>
            <pc:sldMk cId="0" sldId="256"/>
            <ac:picMk id="58" creationId="{E603BCB8-74C5-B815-E3DF-6304095241B9}"/>
          </ac:picMkLst>
        </pc:picChg>
        <pc:picChg chg="mod topLvl">
          <ac:chgData name="Bhavya Madan (MiddleEast)" userId="277f7cd5-28f9-408e-9bfd-fda9e1453193" providerId="ADAL" clId="{2ADE63CF-A239-4813-B092-0D0FA68297D9}" dt="2024-09-30T12:41:51.597" v="14" actId="164"/>
          <ac:picMkLst>
            <pc:docMk/>
            <pc:sldMk cId="0" sldId="256"/>
            <ac:picMk id="61" creationId="{46EB94BE-4160-180E-4CDA-34D0C337709B}"/>
          </ac:picMkLst>
        </pc:picChg>
      </pc:sldChg>
      <pc:sldChg chg="addSp modSp">
        <pc:chgData name="Bhavya Madan (MiddleEast)" userId="277f7cd5-28f9-408e-9bfd-fda9e1453193" providerId="ADAL" clId="{2ADE63CF-A239-4813-B092-0D0FA68297D9}" dt="2024-09-30T12:42:46.008" v="15"/>
        <pc:sldMkLst>
          <pc:docMk/>
          <pc:sldMk cId="3912617427" sldId="281"/>
        </pc:sldMkLst>
        <pc:grpChg chg="add mod">
          <ac:chgData name="Bhavya Madan (MiddleEast)" userId="277f7cd5-28f9-408e-9bfd-fda9e1453193" providerId="ADAL" clId="{2ADE63CF-A239-4813-B092-0D0FA68297D9}" dt="2024-09-30T12:42:46.008" v="15"/>
          <ac:grpSpMkLst>
            <pc:docMk/>
            <pc:sldMk cId="3912617427" sldId="281"/>
            <ac:grpSpMk id="3" creationId="{541CF18E-6286-6FC5-8730-6FFF3BF907BC}"/>
          </ac:grpSpMkLst>
        </pc:grpChg>
        <pc:picChg chg="mod">
          <ac:chgData name="Bhavya Madan (MiddleEast)" userId="277f7cd5-28f9-408e-9bfd-fda9e1453193" providerId="ADAL" clId="{2ADE63CF-A239-4813-B092-0D0FA68297D9}" dt="2024-09-30T12:42:46.008" v="15"/>
          <ac:picMkLst>
            <pc:docMk/>
            <pc:sldMk cId="3912617427" sldId="281"/>
            <ac:picMk id="4" creationId="{F92C5172-37EA-D154-1A19-397A7A253A92}"/>
          </ac:picMkLst>
        </pc:picChg>
        <pc:picChg chg="mod">
          <ac:chgData name="Bhavya Madan (MiddleEast)" userId="277f7cd5-28f9-408e-9bfd-fda9e1453193" providerId="ADAL" clId="{2ADE63CF-A239-4813-B092-0D0FA68297D9}" dt="2024-09-30T12:42:46.008" v="15"/>
          <ac:picMkLst>
            <pc:docMk/>
            <pc:sldMk cId="3912617427" sldId="281"/>
            <ac:picMk id="5" creationId="{99995DAB-8DE8-61A1-09E2-013B16FA8C02}"/>
          </ac:picMkLst>
        </pc:picChg>
        <pc:picChg chg="mod">
          <ac:chgData name="Bhavya Madan (MiddleEast)" userId="277f7cd5-28f9-408e-9bfd-fda9e1453193" providerId="ADAL" clId="{2ADE63CF-A239-4813-B092-0D0FA68297D9}" dt="2024-09-30T12:42:46.008" v="15"/>
          <ac:picMkLst>
            <pc:docMk/>
            <pc:sldMk cId="3912617427" sldId="281"/>
            <ac:picMk id="6" creationId="{AF7BE06A-BBA9-574E-2DDC-4B4E1E35FF30}"/>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E572BBC-E739-7DC3-6E44-13BB01FEF272}"/>
              </a:ext>
            </a:extLst>
          </p:cNvPr>
          <p:cNvSpPr>
            <a:spLocks noGrp="1"/>
          </p:cNvSpPr>
          <p:nvPr>
            <p:ph type="hdr" sz="quarter"/>
          </p:nvPr>
        </p:nvSpPr>
        <p:spPr>
          <a:xfrm>
            <a:off x="0" y="0"/>
            <a:ext cx="8712200" cy="566738"/>
          </a:xfrm>
          <a:prstGeom prst="rect">
            <a:avLst/>
          </a:prstGeom>
        </p:spPr>
        <p:txBody>
          <a:bodyPr vert="horz" lIns="91440" tIns="45720" rIns="91440" bIns="45720" rtlCol="0"/>
          <a:lstStyle>
            <a:lvl1pPr algn="l">
              <a:defRPr sz="1200"/>
            </a:lvl1pPr>
          </a:lstStyle>
          <a:p>
            <a:endParaRPr lang="en-AE"/>
          </a:p>
        </p:txBody>
      </p:sp>
      <p:sp>
        <p:nvSpPr>
          <p:cNvPr id="3" name="Date Placeholder 2">
            <a:extLst>
              <a:ext uri="{FF2B5EF4-FFF2-40B4-BE49-F238E27FC236}">
                <a16:creationId xmlns:a16="http://schemas.microsoft.com/office/drawing/2014/main" id="{CCCB7F25-8BD9-FBA8-4CA8-FAEF4CFACDFC}"/>
              </a:ext>
            </a:extLst>
          </p:cNvPr>
          <p:cNvSpPr>
            <a:spLocks noGrp="1"/>
          </p:cNvSpPr>
          <p:nvPr>
            <p:ph type="dt" sz="quarter" idx="1"/>
          </p:nvPr>
        </p:nvSpPr>
        <p:spPr>
          <a:xfrm>
            <a:off x="11387138" y="0"/>
            <a:ext cx="8712200" cy="566738"/>
          </a:xfrm>
          <a:prstGeom prst="rect">
            <a:avLst/>
          </a:prstGeom>
        </p:spPr>
        <p:txBody>
          <a:bodyPr vert="horz" lIns="91440" tIns="45720" rIns="91440" bIns="45720" rtlCol="0"/>
          <a:lstStyle>
            <a:lvl1pPr algn="r">
              <a:defRPr sz="1200"/>
            </a:lvl1pPr>
          </a:lstStyle>
          <a:p>
            <a:fld id="{3C770CED-86D1-1148-B008-5D8CE9CE61CC}" type="datetimeFigureOut">
              <a:rPr lang="en-AE" smtClean="0"/>
              <a:t>30/09/2024</a:t>
            </a:fld>
            <a:endParaRPr lang="en-AE"/>
          </a:p>
        </p:txBody>
      </p:sp>
      <p:sp>
        <p:nvSpPr>
          <p:cNvPr id="4" name="Footer Placeholder 3">
            <a:extLst>
              <a:ext uri="{FF2B5EF4-FFF2-40B4-BE49-F238E27FC236}">
                <a16:creationId xmlns:a16="http://schemas.microsoft.com/office/drawing/2014/main" id="{1D053647-8905-A21F-2A6A-E4A56E6E8C8C}"/>
              </a:ext>
            </a:extLst>
          </p:cNvPr>
          <p:cNvSpPr>
            <a:spLocks noGrp="1"/>
          </p:cNvSpPr>
          <p:nvPr>
            <p:ph type="ftr" sz="quarter" idx="2"/>
          </p:nvPr>
        </p:nvSpPr>
        <p:spPr>
          <a:xfrm>
            <a:off x="0" y="10742613"/>
            <a:ext cx="8712200" cy="566737"/>
          </a:xfrm>
          <a:prstGeom prst="rect">
            <a:avLst/>
          </a:prstGeom>
        </p:spPr>
        <p:txBody>
          <a:bodyPr vert="horz" lIns="91440" tIns="45720" rIns="91440" bIns="45720" rtlCol="0" anchor="b"/>
          <a:lstStyle>
            <a:lvl1pPr algn="l">
              <a:defRPr sz="1200"/>
            </a:lvl1pPr>
          </a:lstStyle>
          <a:p>
            <a:endParaRPr lang="en-AE"/>
          </a:p>
        </p:txBody>
      </p:sp>
      <p:sp>
        <p:nvSpPr>
          <p:cNvPr id="5" name="Slide Number Placeholder 4">
            <a:extLst>
              <a:ext uri="{FF2B5EF4-FFF2-40B4-BE49-F238E27FC236}">
                <a16:creationId xmlns:a16="http://schemas.microsoft.com/office/drawing/2014/main" id="{1FD93457-7B05-C8A9-A181-95EB68F34643}"/>
              </a:ext>
            </a:extLst>
          </p:cNvPr>
          <p:cNvSpPr>
            <a:spLocks noGrp="1"/>
          </p:cNvSpPr>
          <p:nvPr>
            <p:ph type="sldNum" sz="quarter" idx="3"/>
          </p:nvPr>
        </p:nvSpPr>
        <p:spPr>
          <a:xfrm>
            <a:off x="11387138" y="10742613"/>
            <a:ext cx="8712200" cy="566737"/>
          </a:xfrm>
          <a:prstGeom prst="rect">
            <a:avLst/>
          </a:prstGeom>
        </p:spPr>
        <p:txBody>
          <a:bodyPr vert="horz" lIns="91440" tIns="45720" rIns="91440" bIns="45720" rtlCol="0" anchor="b"/>
          <a:lstStyle>
            <a:lvl1pPr algn="r">
              <a:defRPr sz="1200"/>
            </a:lvl1pPr>
          </a:lstStyle>
          <a:p>
            <a:fld id="{E17376A1-3CD6-4741-8BEE-966A9E8BFCB7}" type="slidenum">
              <a:rPr lang="en-AE" smtClean="0"/>
              <a:t>‹#›</a:t>
            </a:fld>
            <a:endParaRPr lang="en-AE"/>
          </a:p>
        </p:txBody>
      </p:sp>
    </p:spTree>
    <p:extLst>
      <p:ext uri="{BB962C8B-B14F-4D97-AF65-F5344CB8AC3E}">
        <p14:creationId xmlns:p14="http://schemas.microsoft.com/office/powerpoint/2010/main" val="13060943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8712200" cy="56673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11387138" y="0"/>
            <a:ext cx="8712200" cy="566738"/>
          </a:xfrm>
          <a:prstGeom prst="rect">
            <a:avLst/>
          </a:prstGeom>
        </p:spPr>
        <p:txBody>
          <a:bodyPr vert="horz" lIns="91440" tIns="45720" rIns="91440" bIns="45720" rtlCol="0"/>
          <a:lstStyle>
            <a:lvl1pPr algn="r">
              <a:defRPr sz="1200"/>
            </a:lvl1pPr>
          </a:lstStyle>
          <a:p>
            <a:fld id="{21554AB6-06B3-0143-84AC-5818DAA1C112}" type="datetimeFigureOut">
              <a:rPr lang="en-AE" smtClean="0"/>
              <a:t>30/09/2024</a:t>
            </a:fld>
            <a:endParaRPr lang="en-AE"/>
          </a:p>
        </p:txBody>
      </p:sp>
      <p:sp>
        <p:nvSpPr>
          <p:cNvPr id="4" name="Slide Image Placeholder 3"/>
          <p:cNvSpPr>
            <a:spLocks noGrp="1" noRot="1" noChangeAspect="1"/>
          </p:cNvSpPr>
          <p:nvPr>
            <p:ph type="sldImg" idx="2"/>
          </p:nvPr>
        </p:nvSpPr>
        <p:spPr>
          <a:xfrm>
            <a:off x="6659563" y="1414463"/>
            <a:ext cx="6784975" cy="381635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2009775" y="5441950"/>
            <a:ext cx="16084550" cy="44545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10742613"/>
            <a:ext cx="8712200" cy="56673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11387138" y="10742613"/>
            <a:ext cx="8712200" cy="566737"/>
          </a:xfrm>
          <a:prstGeom prst="rect">
            <a:avLst/>
          </a:prstGeom>
        </p:spPr>
        <p:txBody>
          <a:bodyPr vert="horz" lIns="91440" tIns="45720" rIns="91440" bIns="45720" rtlCol="0" anchor="b"/>
          <a:lstStyle>
            <a:lvl1pPr algn="r">
              <a:defRPr sz="1200"/>
            </a:lvl1pPr>
          </a:lstStyle>
          <a:p>
            <a:fld id="{BB3ADDBD-74C1-5643-BED5-2352DC4298FF}" type="slidenum">
              <a:rPr lang="en-AE" smtClean="0"/>
              <a:t>‹#›</a:t>
            </a:fld>
            <a:endParaRPr lang="en-AE"/>
          </a:p>
        </p:txBody>
      </p:sp>
    </p:spTree>
    <p:extLst>
      <p:ext uri="{BB962C8B-B14F-4D97-AF65-F5344CB8AC3E}">
        <p14:creationId xmlns:p14="http://schemas.microsoft.com/office/powerpoint/2010/main" val="22449655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BB3ADDBD-74C1-5643-BED5-2352DC4298FF}" type="slidenum">
              <a:rPr kumimoji="0" lang="en-AE"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5</a:t>
            </a:fld>
            <a:endParaRPr kumimoji="0" lang="en-AE"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454426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fld id="{BB3ADDBD-74C1-5643-BED5-2352DC4298FF}" type="slidenum">
              <a:rPr lang="en-AE" smtClean="0"/>
              <a:t>6</a:t>
            </a:fld>
            <a:endParaRPr lang="en-AE"/>
          </a:p>
        </p:txBody>
      </p:sp>
    </p:spTree>
    <p:extLst>
      <p:ext uri="{BB962C8B-B14F-4D97-AF65-F5344CB8AC3E}">
        <p14:creationId xmlns:p14="http://schemas.microsoft.com/office/powerpoint/2010/main" val="5909527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fld id="{BB3ADDBD-74C1-5643-BED5-2352DC4298FF}" type="slidenum">
              <a:rPr lang="en-AE" smtClean="0"/>
              <a:t>7</a:t>
            </a:fld>
            <a:endParaRPr lang="en-AE"/>
          </a:p>
        </p:txBody>
      </p:sp>
    </p:spTree>
    <p:extLst>
      <p:ext uri="{BB962C8B-B14F-4D97-AF65-F5344CB8AC3E}">
        <p14:creationId xmlns:p14="http://schemas.microsoft.com/office/powerpoint/2010/main" val="2633737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fld id="{BB3ADDBD-74C1-5643-BED5-2352DC4298FF}" type="slidenum">
              <a:rPr lang="en-AE" smtClean="0"/>
              <a:t>8</a:t>
            </a:fld>
            <a:endParaRPr lang="en-AE"/>
          </a:p>
        </p:txBody>
      </p:sp>
    </p:spTree>
    <p:extLst>
      <p:ext uri="{BB962C8B-B14F-4D97-AF65-F5344CB8AC3E}">
        <p14:creationId xmlns:p14="http://schemas.microsoft.com/office/powerpoint/2010/main" val="4509448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fld id="{BB3ADDBD-74C1-5643-BED5-2352DC4298FF}" type="slidenum">
              <a:rPr lang="en-AE" smtClean="0"/>
              <a:t>9</a:t>
            </a:fld>
            <a:endParaRPr lang="en-AE"/>
          </a:p>
        </p:txBody>
      </p:sp>
    </p:spTree>
    <p:extLst>
      <p:ext uri="{BB962C8B-B14F-4D97-AF65-F5344CB8AC3E}">
        <p14:creationId xmlns:p14="http://schemas.microsoft.com/office/powerpoint/2010/main" val="4700615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fld id="{BB3ADDBD-74C1-5643-BED5-2352DC4298FF}" type="slidenum">
              <a:rPr lang="en-AE" smtClean="0"/>
              <a:t>13</a:t>
            </a:fld>
            <a:endParaRPr lang="en-AE"/>
          </a:p>
        </p:txBody>
      </p:sp>
    </p:spTree>
    <p:extLst>
      <p:ext uri="{BB962C8B-B14F-4D97-AF65-F5344CB8AC3E}">
        <p14:creationId xmlns:p14="http://schemas.microsoft.com/office/powerpoint/2010/main" val="689873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fld id="{BB3ADDBD-74C1-5643-BED5-2352DC4298FF}" type="slidenum">
              <a:rPr lang="en-AE" smtClean="0"/>
              <a:t>14</a:t>
            </a:fld>
            <a:endParaRPr lang="en-AE"/>
          </a:p>
        </p:txBody>
      </p:sp>
    </p:spTree>
    <p:extLst>
      <p:ext uri="{BB962C8B-B14F-4D97-AF65-F5344CB8AC3E}">
        <p14:creationId xmlns:p14="http://schemas.microsoft.com/office/powerpoint/2010/main" val="21372813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fld id="{BB3ADDBD-74C1-5643-BED5-2352DC4298FF}" type="slidenum">
              <a:rPr lang="en-AE" smtClean="0"/>
              <a:t>15</a:t>
            </a:fld>
            <a:endParaRPr lang="en-AE"/>
          </a:p>
        </p:txBody>
      </p:sp>
    </p:spTree>
    <p:extLst>
      <p:ext uri="{BB962C8B-B14F-4D97-AF65-F5344CB8AC3E}">
        <p14:creationId xmlns:p14="http://schemas.microsoft.com/office/powerpoint/2010/main" val="12543564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fld id="{BB3ADDBD-74C1-5643-BED5-2352DC4298FF}" type="slidenum">
              <a:rPr lang="en-AE" smtClean="0"/>
              <a:t>16</a:t>
            </a:fld>
            <a:endParaRPr lang="en-AE"/>
          </a:p>
        </p:txBody>
      </p:sp>
    </p:spTree>
    <p:extLst>
      <p:ext uri="{BB962C8B-B14F-4D97-AF65-F5344CB8AC3E}">
        <p14:creationId xmlns:p14="http://schemas.microsoft.com/office/powerpoint/2010/main" val="2349969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4.svg"/><Relationship Id="rId7" Type="http://schemas.openxmlformats.org/officeDocument/2006/relationships/image" Target="../media/image14.svg"/><Relationship Id="rId2" Type="http://schemas.openxmlformats.org/officeDocument/2006/relationships/image" Target="../media/image23.png"/><Relationship Id="rId1" Type="http://schemas.openxmlformats.org/officeDocument/2006/relationships/slideMaster" Target="../slideMasters/slideMaster2.xml"/><Relationship Id="rId6" Type="http://schemas.openxmlformats.org/officeDocument/2006/relationships/image" Target="../media/image13.png"/><Relationship Id="rId5" Type="http://schemas.openxmlformats.org/officeDocument/2006/relationships/image" Target="../media/image26.svg"/><Relationship Id="rId4" Type="http://schemas.openxmlformats.org/officeDocument/2006/relationships/image" Target="../media/image25.png"/><Relationship Id="rId9" Type="http://schemas.openxmlformats.org/officeDocument/2006/relationships/image" Target="../media/image28.sv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30.svg"/><Relationship Id="rId7" Type="http://schemas.openxmlformats.org/officeDocument/2006/relationships/image" Target="../media/image34.svg"/><Relationship Id="rId2" Type="http://schemas.openxmlformats.org/officeDocument/2006/relationships/image" Target="../media/image29.png"/><Relationship Id="rId1" Type="http://schemas.openxmlformats.org/officeDocument/2006/relationships/slideMaster" Target="../slideMasters/slideMaster2.xml"/><Relationship Id="rId6" Type="http://schemas.openxmlformats.org/officeDocument/2006/relationships/image" Target="../media/image33.png"/><Relationship Id="rId5" Type="http://schemas.openxmlformats.org/officeDocument/2006/relationships/image" Target="../media/image32.svg"/><Relationship Id="rId4" Type="http://schemas.openxmlformats.org/officeDocument/2006/relationships/image" Target="../media/image31.png"/><Relationship Id="rId9" Type="http://schemas.openxmlformats.org/officeDocument/2006/relationships/image" Target="../media/image22.sv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4.svg"/><Relationship Id="rId7" Type="http://schemas.openxmlformats.org/officeDocument/2006/relationships/image" Target="../media/image14.svg"/><Relationship Id="rId2" Type="http://schemas.openxmlformats.org/officeDocument/2006/relationships/image" Target="../media/image23.png"/><Relationship Id="rId1" Type="http://schemas.openxmlformats.org/officeDocument/2006/relationships/slideMaster" Target="../slideMasters/slideMaster2.xml"/><Relationship Id="rId6" Type="http://schemas.openxmlformats.org/officeDocument/2006/relationships/image" Target="../media/image13.png"/><Relationship Id="rId5" Type="http://schemas.openxmlformats.org/officeDocument/2006/relationships/image" Target="../media/image26.svg"/><Relationship Id="rId4" Type="http://schemas.openxmlformats.org/officeDocument/2006/relationships/image" Target="../media/image25.png"/><Relationship Id="rId9" Type="http://schemas.openxmlformats.org/officeDocument/2006/relationships/image" Target="../media/image28.sv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32.svg"/><Relationship Id="rId7" Type="http://schemas.openxmlformats.org/officeDocument/2006/relationships/image" Target="../media/image14.svg"/><Relationship Id="rId2" Type="http://schemas.openxmlformats.org/officeDocument/2006/relationships/image" Target="../media/image31.png"/><Relationship Id="rId1" Type="http://schemas.openxmlformats.org/officeDocument/2006/relationships/slideMaster" Target="../slideMasters/slideMaster2.xml"/><Relationship Id="rId6" Type="http://schemas.openxmlformats.org/officeDocument/2006/relationships/image" Target="../media/image13.png"/><Relationship Id="rId5" Type="http://schemas.openxmlformats.org/officeDocument/2006/relationships/image" Target="../media/image26.svg"/><Relationship Id="rId4" Type="http://schemas.openxmlformats.org/officeDocument/2006/relationships/image" Target="../media/image25.png"/><Relationship Id="rId9" Type="http://schemas.openxmlformats.org/officeDocument/2006/relationships/image" Target="../media/image28.sv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4.svg"/><Relationship Id="rId7" Type="http://schemas.openxmlformats.org/officeDocument/2006/relationships/image" Target="../media/image14.svg"/><Relationship Id="rId2" Type="http://schemas.openxmlformats.org/officeDocument/2006/relationships/image" Target="../media/image23.png"/><Relationship Id="rId1" Type="http://schemas.openxmlformats.org/officeDocument/2006/relationships/slideMaster" Target="../slideMasters/slideMaster2.xml"/><Relationship Id="rId6" Type="http://schemas.openxmlformats.org/officeDocument/2006/relationships/image" Target="../media/image13.png"/><Relationship Id="rId5" Type="http://schemas.openxmlformats.org/officeDocument/2006/relationships/image" Target="../media/image26.svg"/><Relationship Id="rId4" Type="http://schemas.openxmlformats.org/officeDocument/2006/relationships/image" Target="../media/image25.png"/><Relationship Id="rId9" Type="http://schemas.openxmlformats.org/officeDocument/2006/relationships/image" Target="../media/image28.sv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24.svg"/><Relationship Id="rId7" Type="http://schemas.openxmlformats.org/officeDocument/2006/relationships/image" Target="../media/image14.svg"/><Relationship Id="rId2" Type="http://schemas.openxmlformats.org/officeDocument/2006/relationships/image" Target="../media/image23.png"/><Relationship Id="rId1" Type="http://schemas.openxmlformats.org/officeDocument/2006/relationships/slideMaster" Target="../slideMasters/slideMaster2.xml"/><Relationship Id="rId6" Type="http://schemas.openxmlformats.org/officeDocument/2006/relationships/image" Target="../media/image13.png"/><Relationship Id="rId5" Type="http://schemas.openxmlformats.org/officeDocument/2006/relationships/image" Target="../media/image26.svg"/><Relationship Id="rId4" Type="http://schemas.openxmlformats.org/officeDocument/2006/relationships/image" Target="../media/image25.png"/><Relationship Id="rId9" Type="http://schemas.openxmlformats.org/officeDocument/2006/relationships/image" Target="../media/image36.sv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image" Target="../media/image37.png"/><Relationship Id="rId1" Type="http://schemas.openxmlformats.org/officeDocument/2006/relationships/slideMaster" Target="../slideMasters/slideMaster2.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3" Type="http://schemas.openxmlformats.org/officeDocument/2006/relationships/image" Target="../media/image50.png"/><Relationship Id="rId7" Type="http://schemas.openxmlformats.org/officeDocument/2006/relationships/image" Target="../media/image6.png"/><Relationship Id="rId12" Type="http://schemas.openxmlformats.org/officeDocument/2006/relationships/image" Target="../media/image11.png"/><Relationship Id="rId2" Type="http://schemas.openxmlformats.org/officeDocument/2006/relationships/image" Target="../media/image49.png"/><Relationship Id="rId1" Type="http://schemas.openxmlformats.org/officeDocument/2006/relationships/slideMaster" Target="../slideMasters/slideMaster2.xml"/><Relationship Id="rId6" Type="http://schemas.openxmlformats.org/officeDocument/2006/relationships/image" Target="../media/image5.png"/><Relationship Id="rId11" Type="http://schemas.openxmlformats.org/officeDocument/2006/relationships/image" Target="../media/image10.png"/><Relationship Id="rId5" Type="http://schemas.openxmlformats.org/officeDocument/2006/relationships/image" Target="../media/image4.pn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png"/><Relationship Id="rId14" Type="http://schemas.microsoft.com/office/2007/relationships/hdphoto" Target="../media/hdphoto1.wdp"/></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12"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8.svg"/><Relationship Id="rId7" Type="http://schemas.openxmlformats.org/officeDocument/2006/relationships/image" Target="../media/image22.svg"/><Relationship Id="rId2" Type="http://schemas.openxmlformats.org/officeDocument/2006/relationships/image" Target="../media/image17.png"/><Relationship Id="rId1" Type="http://schemas.openxmlformats.org/officeDocument/2006/relationships/slideMaster" Target="../slideMasters/slideMaster2.xml"/><Relationship Id="rId6" Type="http://schemas.openxmlformats.org/officeDocument/2006/relationships/image" Target="../media/image21.png"/><Relationship Id="rId5" Type="http://schemas.openxmlformats.org/officeDocument/2006/relationships/image" Target="../media/image20.svg"/><Relationship Id="rId4" Type="http://schemas.openxmlformats.org/officeDocument/2006/relationships/image" Target="../media/image19.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10"/>
            <a:ext cx="20104100" cy="11308715"/>
          </a:xfrm>
          <a:custGeom>
            <a:avLst/>
            <a:gdLst/>
            <a:ahLst/>
            <a:cxnLst/>
            <a:rect l="l" t="t" r="r" b="b"/>
            <a:pathLst>
              <a:path w="20104100" h="11308715">
                <a:moveTo>
                  <a:pt x="20104099" y="0"/>
                </a:moveTo>
                <a:lnTo>
                  <a:pt x="0" y="0"/>
                </a:lnTo>
                <a:lnTo>
                  <a:pt x="0" y="11308545"/>
                </a:lnTo>
                <a:lnTo>
                  <a:pt x="20104099" y="11308545"/>
                </a:lnTo>
                <a:lnTo>
                  <a:pt x="20104099" y="0"/>
                </a:lnTo>
                <a:close/>
              </a:path>
            </a:pathLst>
          </a:custGeom>
          <a:solidFill>
            <a:srgbClr val="EB9F92"/>
          </a:solidFill>
        </p:spPr>
        <p:txBody>
          <a:bodyPr wrap="square" lIns="0" tIns="0" rIns="0" bIns="0" rtlCol="0"/>
          <a:lstStyle/>
          <a:p>
            <a:endParaRPr/>
          </a:p>
        </p:txBody>
      </p:sp>
      <p:sp>
        <p:nvSpPr>
          <p:cNvPr id="17" name="bg object 17"/>
          <p:cNvSpPr/>
          <p:nvPr/>
        </p:nvSpPr>
        <p:spPr>
          <a:xfrm>
            <a:off x="12484164" y="6598748"/>
            <a:ext cx="2336165" cy="2336165"/>
          </a:xfrm>
          <a:custGeom>
            <a:avLst/>
            <a:gdLst/>
            <a:ahLst/>
            <a:cxnLst/>
            <a:rect l="l" t="t" r="r" b="b"/>
            <a:pathLst>
              <a:path w="2336165" h="2336165">
                <a:moveTo>
                  <a:pt x="2336076" y="0"/>
                </a:moveTo>
                <a:lnTo>
                  <a:pt x="0" y="0"/>
                </a:lnTo>
                <a:lnTo>
                  <a:pt x="0" y="1051229"/>
                </a:lnTo>
                <a:lnTo>
                  <a:pt x="0" y="2336076"/>
                </a:lnTo>
                <a:lnTo>
                  <a:pt x="2336076" y="2336076"/>
                </a:lnTo>
                <a:lnTo>
                  <a:pt x="2336076" y="1051229"/>
                </a:lnTo>
                <a:lnTo>
                  <a:pt x="2336076" y="0"/>
                </a:lnTo>
                <a:close/>
              </a:path>
            </a:pathLst>
          </a:custGeom>
          <a:solidFill>
            <a:srgbClr val="6CBB79"/>
          </a:solidFill>
        </p:spPr>
        <p:txBody>
          <a:bodyPr wrap="square" lIns="0" tIns="0" rIns="0" bIns="0" rtlCol="0"/>
          <a:lstStyle/>
          <a:p>
            <a:endParaRPr/>
          </a:p>
        </p:txBody>
      </p:sp>
      <p:sp>
        <p:nvSpPr>
          <p:cNvPr id="18" name="bg object 18"/>
          <p:cNvSpPr/>
          <p:nvPr/>
        </p:nvSpPr>
        <p:spPr>
          <a:xfrm>
            <a:off x="12951392" y="7065959"/>
            <a:ext cx="1402080" cy="1402080"/>
          </a:xfrm>
          <a:custGeom>
            <a:avLst/>
            <a:gdLst/>
            <a:ahLst/>
            <a:cxnLst/>
            <a:rect l="l" t="t" r="r" b="b"/>
            <a:pathLst>
              <a:path w="1402080" h="1402079">
                <a:moveTo>
                  <a:pt x="773557" y="1066742"/>
                </a:moveTo>
                <a:lnTo>
                  <a:pt x="628085" y="1066742"/>
                </a:lnTo>
                <a:lnTo>
                  <a:pt x="628085" y="1328870"/>
                </a:lnTo>
                <a:lnTo>
                  <a:pt x="633811" y="1357168"/>
                </a:lnTo>
                <a:lnTo>
                  <a:pt x="649416" y="1380303"/>
                </a:lnTo>
                <a:lnTo>
                  <a:pt x="672537" y="1395914"/>
                </a:lnTo>
                <a:lnTo>
                  <a:pt x="700816" y="1401643"/>
                </a:lnTo>
                <a:lnTo>
                  <a:pt x="729100" y="1395914"/>
                </a:lnTo>
                <a:lnTo>
                  <a:pt x="752225" y="1380303"/>
                </a:lnTo>
                <a:lnTo>
                  <a:pt x="767831" y="1357168"/>
                </a:lnTo>
                <a:lnTo>
                  <a:pt x="773557" y="1328870"/>
                </a:lnTo>
                <a:lnTo>
                  <a:pt x="773557" y="1066742"/>
                </a:lnTo>
                <a:close/>
              </a:path>
              <a:path w="1402080" h="1402079">
                <a:moveTo>
                  <a:pt x="908037" y="1011696"/>
                </a:moveTo>
                <a:lnTo>
                  <a:pt x="492864" y="1011696"/>
                </a:lnTo>
                <a:lnTo>
                  <a:pt x="393066" y="1252841"/>
                </a:lnTo>
                <a:lnTo>
                  <a:pt x="387525" y="1281300"/>
                </a:lnTo>
                <a:lnTo>
                  <a:pt x="393128" y="1308704"/>
                </a:lnTo>
                <a:lnTo>
                  <a:pt x="408608" y="1332082"/>
                </a:lnTo>
                <a:lnTo>
                  <a:pt x="432698" y="1348461"/>
                </a:lnTo>
                <a:lnTo>
                  <a:pt x="461138" y="1354013"/>
                </a:lnTo>
                <a:lnTo>
                  <a:pt x="488485" y="1348410"/>
                </a:lnTo>
                <a:lnTo>
                  <a:pt x="511720" y="1332922"/>
                </a:lnTo>
                <a:lnTo>
                  <a:pt x="527826" y="1308818"/>
                </a:lnTo>
                <a:lnTo>
                  <a:pt x="628085" y="1066742"/>
                </a:lnTo>
                <a:lnTo>
                  <a:pt x="930880" y="1066742"/>
                </a:lnTo>
                <a:lnTo>
                  <a:pt x="908037" y="1011696"/>
                </a:lnTo>
                <a:close/>
              </a:path>
              <a:path w="1402080" h="1402079">
                <a:moveTo>
                  <a:pt x="930880" y="1066742"/>
                </a:moveTo>
                <a:lnTo>
                  <a:pt x="773557" y="1066742"/>
                </a:lnTo>
                <a:lnTo>
                  <a:pt x="873805" y="1308818"/>
                </a:lnTo>
                <a:lnTo>
                  <a:pt x="889916" y="1332922"/>
                </a:lnTo>
                <a:lnTo>
                  <a:pt x="913150" y="1348410"/>
                </a:lnTo>
                <a:lnTo>
                  <a:pt x="940490" y="1354013"/>
                </a:lnTo>
                <a:lnTo>
                  <a:pt x="968923" y="1348461"/>
                </a:lnTo>
                <a:lnTo>
                  <a:pt x="992946" y="1332082"/>
                </a:lnTo>
                <a:lnTo>
                  <a:pt x="1008269" y="1308704"/>
                </a:lnTo>
                <a:lnTo>
                  <a:pt x="1013714" y="1281300"/>
                </a:lnTo>
                <a:lnTo>
                  <a:pt x="1008105" y="1252841"/>
                </a:lnTo>
                <a:lnTo>
                  <a:pt x="930880" y="1066742"/>
                </a:lnTo>
                <a:close/>
              </a:path>
              <a:path w="1402080" h="1402079">
                <a:moveTo>
                  <a:pt x="1010890" y="908150"/>
                </a:moveTo>
                <a:lnTo>
                  <a:pt x="390281" y="908150"/>
                </a:lnTo>
                <a:lnTo>
                  <a:pt x="205156" y="1093327"/>
                </a:lnTo>
                <a:lnTo>
                  <a:pt x="189159" y="1117439"/>
                </a:lnTo>
                <a:lnTo>
                  <a:pt x="183826" y="1144870"/>
                </a:lnTo>
                <a:lnTo>
                  <a:pt x="189159" y="1172302"/>
                </a:lnTo>
                <a:lnTo>
                  <a:pt x="205156" y="1196413"/>
                </a:lnTo>
                <a:lnTo>
                  <a:pt x="229261" y="1212416"/>
                </a:lnTo>
                <a:lnTo>
                  <a:pt x="256687" y="1217750"/>
                </a:lnTo>
                <a:lnTo>
                  <a:pt x="284111" y="1212416"/>
                </a:lnTo>
                <a:lnTo>
                  <a:pt x="308210" y="1196413"/>
                </a:lnTo>
                <a:lnTo>
                  <a:pt x="492864" y="1011696"/>
                </a:lnTo>
                <a:lnTo>
                  <a:pt x="908037" y="1011696"/>
                </a:lnTo>
                <a:lnTo>
                  <a:pt x="907846" y="1011236"/>
                </a:lnTo>
                <a:lnTo>
                  <a:pt x="1113941" y="1011236"/>
                </a:lnTo>
                <a:lnTo>
                  <a:pt x="1010890" y="908150"/>
                </a:lnTo>
                <a:close/>
              </a:path>
              <a:path w="1402080" h="1402079">
                <a:moveTo>
                  <a:pt x="1113941" y="1011236"/>
                </a:moveTo>
                <a:lnTo>
                  <a:pt x="907846" y="1011236"/>
                </a:lnTo>
                <a:lnTo>
                  <a:pt x="1093422" y="1196413"/>
                </a:lnTo>
                <a:lnTo>
                  <a:pt x="1117453" y="1212416"/>
                </a:lnTo>
                <a:lnTo>
                  <a:pt x="1144717" y="1217750"/>
                </a:lnTo>
                <a:lnTo>
                  <a:pt x="1171979" y="1212416"/>
                </a:lnTo>
                <a:lnTo>
                  <a:pt x="1196005" y="1196413"/>
                </a:lnTo>
                <a:lnTo>
                  <a:pt x="1212008" y="1172302"/>
                </a:lnTo>
                <a:lnTo>
                  <a:pt x="1217342" y="1144870"/>
                </a:lnTo>
                <a:lnTo>
                  <a:pt x="1212008" y="1117439"/>
                </a:lnTo>
                <a:lnTo>
                  <a:pt x="1196005" y="1093327"/>
                </a:lnTo>
                <a:lnTo>
                  <a:pt x="1113941" y="1011236"/>
                </a:lnTo>
                <a:close/>
              </a:path>
              <a:path w="1402080" h="1402079">
                <a:moveTo>
                  <a:pt x="120760" y="387611"/>
                </a:moveTo>
                <a:lnTo>
                  <a:pt x="80895" y="399506"/>
                </a:lnTo>
                <a:lnTo>
                  <a:pt x="53610" y="432384"/>
                </a:lnTo>
                <a:lnTo>
                  <a:pt x="48001" y="460832"/>
                </a:lnTo>
                <a:lnTo>
                  <a:pt x="53447" y="488186"/>
                </a:lnTo>
                <a:lnTo>
                  <a:pt x="68769" y="511429"/>
                </a:lnTo>
                <a:lnTo>
                  <a:pt x="92792" y="527544"/>
                </a:lnTo>
                <a:lnTo>
                  <a:pt x="334785" y="627823"/>
                </a:lnTo>
                <a:lnTo>
                  <a:pt x="72730" y="627823"/>
                </a:lnTo>
                <a:lnTo>
                  <a:pt x="44447" y="633551"/>
                </a:lnTo>
                <a:lnTo>
                  <a:pt x="21326" y="649162"/>
                </a:lnTo>
                <a:lnTo>
                  <a:pt x="5724" y="672293"/>
                </a:lnTo>
                <a:lnTo>
                  <a:pt x="0" y="700585"/>
                </a:lnTo>
                <a:lnTo>
                  <a:pt x="5724" y="729076"/>
                </a:lnTo>
                <a:lnTo>
                  <a:pt x="21326" y="752186"/>
                </a:lnTo>
                <a:lnTo>
                  <a:pt x="44447" y="767686"/>
                </a:lnTo>
                <a:lnTo>
                  <a:pt x="72730" y="773348"/>
                </a:lnTo>
                <a:lnTo>
                  <a:pt x="334785" y="773348"/>
                </a:lnTo>
                <a:lnTo>
                  <a:pt x="92792" y="873638"/>
                </a:lnTo>
                <a:lnTo>
                  <a:pt x="68769" y="889813"/>
                </a:lnTo>
                <a:lnTo>
                  <a:pt x="53447" y="913164"/>
                </a:lnTo>
                <a:lnTo>
                  <a:pt x="48001" y="940542"/>
                </a:lnTo>
                <a:lnTo>
                  <a:pt x="53610" y="968797"/>
                </a:lnTo>
                <a:lnTo>
                  <a:pt x="69723" y="992894"/>
                </a:lnTo>
                <a:lnTo>
                  <a:pt x="92960" y="1008377"/>
                </a:lnTo>
                <a:lnTo>
                  <a:pt x="120304" y="1013981"/>
                </a:lnTo>
                <a:lnTo>
                  <a:pt x="148738" y="1008440"/>
                </a:lnTo>
                <a:lnTo>
                  <a:pt x="390281" y="908150"/>
                </a:lnTo>
                <a:lnTo>
                  <a:pt x="1344722" y="908150"/>
                </a:lnTo>
                <a:lnTo>
                  <a:pt x="1332674" y="889813"/>
                </a:lnTo>
                <a:lnTo>
                  <a:pt x="1316947" y="879135"/>
                </a:lnTo>
                <a:lnTo>
                  <a:pt x="700764" y="879135"/>
                </a:lnTo>
                <a:lnTo>
                  <a:pt x="653341" y="872761"/>
                </a:lnTo>
                <a:lnTo>
                  <a:pt x="610729" y="854772"/>
                </a:lnTo>
                <a:lnTo>
                  <a:pt x="574627" y="826871"/>
                </a:lnTo>
                <a:lnTo>
                  <a:pt x="546735" y="790758"/>
                </a:lnTo>
                <a:lnTo>
                  <a:pt x="528753" y="748134"/>
                </a:lnTo>
                <a:lnTo>
                  <a:pt x="522382" y="700701"/>
                </a:lnTo>
                <a:lnTo>
                  <a:pt x="528753" y="653263"/>
                </a:lnTo>
                <a:lnTo>
                  <a:pt x="546735" y="610636"/>
                </a:lnTo>
                <a:lnTo>
                  <a:pt x="574627" y="574521"/>
                </a:lnTo>
                <a:lnTo>
                  <a:pt x="610729" y="546619"/>
                </a:lnTo>
                <a:lnTo>
                  <a:pt x="653341" y="528630"/>
                </a:lnTo>
                <a:lnTo>
                  <a:pt x="700764" y="522256"/>
                </a:lnTo>
                <a:lnTo>
                  <a:pt x="1316667" y="522256"/>
                </a:lnTo>
                <a:lnTo>
                  <a:pt x="1332674" y="511429"/>
                </a:lnTo>
                <a:lnTo>
                  <a:pt x="1344514" y="493492"/>
                </a:lnTo>
                <a:lnTo>
                  <a:pt x="1010890" y="493492"/>
                </a:lnTo>
                <a:lnTo>
                  <a:pt x="1011361" y="493021"/>
                </a:lnTo>
                <a:lnTo>
                  <a:pt x="389810" y="493021"/>
                </a:lnTo>
                <a:lnTo>
                  <a:pt x="148738" y="393213"/>
                </a:lnTo>
                <a:lnTo>
                  <a:pt x="141747" y="390760"/>
                </a:lnTo>
                <a:lnTo>
                  <a:pt x="134753" y="389010"/>
                </a:lnTo>
                <a:lnTo>
                  <a:pt x="127757" y="387960"/>
                </a:lnTo>
                <a:lnTo>
                  <a:pt x="120760" y="387611"/>
                </a:lnTo>
                <a:close/>
              </a:path>
              <a:path w="1402080" h="1402079">
                <a:moveTo>
                  <a:pt x="1344722" y="908150"/>
                </a:moveTo>
                <a:lnTo>
                  <a:pt x="1010890" y="908150"/>
                </a:lnTo>
                <a:lnTo>
                  <a:pt x="1252893" y="1008440"/>
                </a:lnTo>
                <a:lnTo>
                  <a:pt x="1281332" y="1013981"/>
                </a:lnTo>
                <a:lnTo>
                  <a:pt x="1308674" y="1008377"/>
                </a:lnTo>
                <a:lnTo>
                  <a:pt x="1331906" y="992894"/>
                </a:lnTo>
                <a:lnTo>
                  <a:pt x="1348011" y="968797"/>
                </a:lnTo>
                <a:lnTo>
                  <a:pt x="1353566" y="940542"/>
                </a:lnTo>
                <a:lnTo>
                  <a:pt x="1348016" y="913164"/>
                </a:lnTo>
                <a:lnTo>
                  <a:pt x="1344722" y="908150"/>
                </a:lnTo>
                <a:close/>
              </a:path>
              <a:path w="1402080" h="1402079">
                <a:moveTo>
                  <a:pt x="1316667" y="522256"/>
                </a:moveTo>
                <a:lnTo>
                  <a:pt x="700764" y="522256"/>
                </a:lnTo>
                <a:lnTo>
                  <a:pt x="748182" y="528630"/>
                </a:lnTo>
                <a:lnTo>
                  <a:pt x="790793" y="546619"/>
                </a:lnTo>
                <a:lnTo>
                  <a:pt x="826896" y="574521"/>
                </a:lnTo>
                <a:lnTo>
                  <a:pt x="854789" y="610636"/>
                </a:lnTo>
                <a:lnTo>
                  <a:pt x="872773" y="653263"/>
                </a:lnTo>
                <a:lnTo>
                  <a:pt x="879146" y="700701"/>
                </a:lnTo>
                <a:lnTo>
                  <a:pt x="872773" y="748134"/>
                </a:lnTo>
                <a:lnTo>
                  <a:pt x="854789" y="790758"/>
                </a:lnTo>
                <a:lnTo>
                  <a:pt x="826896" y="826871"/>
                </a:lnTo>
                <a:lnTo>
                  <a:pt x="790793" y="854772"/>
                </a:lnTo>
                <a:lnTo>
                  <a:pt x="748182" y="872761"/>
                </a:lnTo>
                <a:lnTo>
                  <a:pt x="700764" y="879135"/>
                </a:lnTo>
                <a:lnTo>
                  <a:pt x="1316947" y="879135"/>
                </a:lnTo>
                <a:lnTo>
                  <a:pt x="1308850" y="873638"/>
                </a:lnTo>
                <a:lnTo>
                  <a:pt x="1066847" y="773348"/>
                </a:lnTo>
                <a:lnTo>
                  <a:pt x="1328430" y="773348"/>
                </a:lnTo>
                <a:lnTo>
                  <a:pt x="1356983" y="767686"/>
                </a:lnTo>
                <a:lnTo>
                  <a:pt x="1380248" y="752186"/>
                </a:lnTo>
                <a:lnTo>
                  <a:pt x="1395908" y="729076"/>
                </a:lnTo>
                <a:lnTo>
                  <a:pt x="1401643" y="700585"/>
                </a:lnTo>
                <a:lnTo>
                  <a:pt x="1395908" y="672293"/>
                </a:lnTo>
                <a:lnTo>
                  <a:pt x="1380248" y="649162"/>
                </a:lnTo>
                <a:lnTo>
                  <a:pt x="1356983" y="633551"/>
                </a:lnTo>
                <a:lnTo>
                  <a:pt x="1328430" y="627823"/>
                </a:lnTo>
                <a:lnTo>
                  <a:pt x="1066847" y="627823"/>
                </a:lnTo>
                <a:lnTo>
                  <a:pt x="1308850" y="527544"/>
                </a:lnTo>
                <a:lnTo>
                  <a:pt x="1316667" y="522256"/>
                </a:lnTo>
                <a:close/>
              </a:path>
              <a:path w="1402080" h="1402079">
                <a:moveTo>
                  <a:pt x="1280861" y="387611"/>
                </a:moveTo>
                <a:lnTo>
                  <a:pt x="1010890" y="493492"/>
                </a:lnTo>
                <a:lnTo>
                  <a:pt x="1344514" y="493492"/>
                </a:lnTo>
                <a:lnTo>
                  <a:pt x="1348016" y="488186"/>
                </a:lnTo>
                <a:lnTo>
                  <a:pt x="1353566" y="460832"/>
                </a:lnTo>
                <a:lnTo>
                  <a:pt x="1348011" y="432384"/>
                </a:lnTo>
                <a:lnTo>
                  <a:pt x="1336603" y="413585"/>
                </a:lnTo>
                <a:lnTo>
                  <a:pt x="1320734" y="399506"/>
                </a:lnTo>
                <a:lnTo>
                  <a:pt x="1301716" y="390672"/>
                </a:lnTo>
                <a:lnTo>
                  <a:pt x="1280861" y="387611"/>
                </a:lnTo>
                <a:close/>
              </a:path>
              <a:path w="1402080" h="1402079">
                <a:moveTo>
                  <a:pt x="256452" y="183784"/>
                </a:moveTo>
                <a:lnTo>
                  <a:pt x="216448" y="195787"/>
                </a:lnTo>
                <a:lnTo>
                  <a:pt x="189159" y="229342"/>
                </a:lnTo>
                <a:lnTo>
                  <a:pt x="183826" y="256773"/>
                </a:lnTo>
                <a:lnTo>
                  <a:pt x="189159" y="284206"/>
                </a:lnTo>
                <a:lnTo>
                  <a:pt x="205156" y="308315"/>
                </a:lnTo>
                <a:lnTo>
                  <a:pt x="389810" y="493021"/>
                </a:lnTo>
                <a:lnTo>
                  <a:pt x="1011361" y="493021"/>
                </a:lnTo>
                <a:lnTo>
                  <a:pt x="1113470" y="390878"/>
                </a:lnTo>
                <a:lnTo>
                  <a:pt x="907846" y="390878"/>
                </a:lnTo>
                <a:lnTo>
                  <a:pt x="908041" y="390406"/>
                </a:lnTo>
                <a:lnTo>
                  <a:pt x="493314" y="390406"/>
                </a:lnTo>
                <a:lnTo>
                  <a:pt x="308210" y="205239"/>
                </a:lnTo>
                <a:lnTo>
                  <a:pt x="296645" y="195787"/>
                </a:lnTo>
                <a:lnTo>
                  <a:pt x="283902" y="189089"/>
                </a:lnTo>
                <a:lnTo>
                  <a:pt x="270373" y="185103"/>
                </a:lnTo>
                <a:lnTo>
                  <a:pt x="256452" y="183784"/>
                </a:lnTo>
                <a:close/>
              </a:path>
              <a:path w="1402080" h="1402079">
                <a:moveTo>
                  <a:pt x="1144717" y="183894"/>
                </a:moveTo>
                <a:lnTo>
                  <a:pt x="1117453" y="189231"/>
                </a:lnTo>
                <a:lnTo>
                  <a:pt x="1093422" y="205239"/>
                </a:lnTo>
                <a:lnTo>
                  <a:pt x="907846" y="390878"/>
                </a:lnTo>
                <a:lnTo>
                  <a:pt x="1113470" y="390878"/>
                </a:lnTo>
                <a:lnTo>
                  <a:pt x="1196005" y="308315"/>
                </a:lnTo>
                <a:lnTo>
                  <a:pt x="1216141" y="270927"/>
                </a:lnTo>
                <a:lnTo>
                  <a:pt x="1217460" y="257007"/>
                </a:lnTo>
                <a:lnTo>
                  <a:pt x="1216141" y="243083"/>
                </a:lnTo>
                <a:lnTo>
                  <a:pt x="1196005" y="205239"/>
                </a:lnTo>
                <a:lnTo>
                  <a:pt x="1144717" y="183894"/>
                </a:lnTo>
                <a:close/>
              </a:path>
              <a:path w="1402080" h="1402079">
                <a:moveTo>
                  <a:pt x="461138" y="47618"/>
                </a:moveTo>
                <a:lnTo>
                  <a:pt x="413833" y="64585"/>
                </a:lnTo>
                <a:lnTo>
                  <a:pt x="390608" y="99480"/>
                </a:lnTo>
                <a:lnTo>
                  <a:pt x="387475" y="120341"/>
                </a:lnTo>
                <a:lnTo>
                  <a:pt x="387824" y="127339"/>
                </a:lnTo>
                <a:lnTo>
                  <a:pt x="388872" y="134336"/>
                </a:lnTo>
                <a:lnTo>
                  <a:pt x="390620" y="141333"/>
                </a:lnTo>
                <a:lnTo>
                  <a:pt x="393066" y="148330"/>
                </a:lnTo>
                <a:lnTo>
                  <a:pt x="493314" y="390406"/>
                </a:lnTo>
                <a:lnTo>
                  <a:pt x="908041" y="390406"/>
                </a:lnTo>
                <a:lnTo>
                  <a:pt x="931180" y="334429"/>
                </a:lnTo>
                <a:lnTo>
                  <a:pt x="628085" y="334429"/>
                </a:lnTo>
                <a:lnTo>
                  <a:pt x="527826" y="92353"/>
                </a:lnTo>
                <a:lnTo>
                  <a:pt x="511720" y="68521"/>
                </a:lnTo>
                <a:lnTo>
                  <a:pt x="488478" y="53171"/>
                </a:lnTo>
                <a:lnTo>
                  <a:pt x="461138" y="47618"/>
                </a:lnTo>
                <a:close/>
              </a:path>
              <a:path w="1402080" h="1402079">
                <a:moveTo>
                  <a:pt x="700816" y="0"/>
                </a:moveTo>
                <a:lnTo>
                  <a:pt x="672537" y="5728"/>
                </a:lnTo>
                <a:lnTo>
                  <a:pt x="649416" y="21338"/>
                </a:lnTo>
                <a:lnTo>
                  <a:pt x="633811" y="44470"/>
                </a:lnTo>
                <a:lnTo>
                  <a:pt x="628085" y="72762"/>
                </a:lnTo>
                <a:lnTo>
                  <a:pt x="628085" y="334429"/>
                </a:lnTo>
                <a:lnTo>
                  <a:pt x="773557" y="334429"/>
                </a:lnTo>
                <a:lnTo>
                  <a:pt x="773557" y="72762"/>
                </a:lnTo>
                <a:lnTo>
                  <a:pt x="767831" y="44470"/>
                </a:lnTo>
                <a:lnTo>
                  <a:pt x="752225" y="21338"/>
                </a:lnTo>
                <a:lnTo>
                  <a:pt x="729100" y="5728"/>
                </a:lnTo>
                <a:lnTo>
                  <a:pt x="700816" y="0"/>
                </a:lnTo>
                <a:close/>
              </a:path>
              <a:path w="1402080" h="1402079">
                <a:moveTo>
                  <a:pt x="940490" y="47618"/>
                </a:moveTo>
                <a:lnTo>
                  <a:pt x="913150" y="53172"/>
                </a:lnTo>
                <a:lnTo>
                  <a:pt x="889916" y="68521"/>
                </a:lnTo>
                <a:lnTo>
                  <a:pt x="873805" y="92353"/>
                </a:lnTo>
                <a:lnTo>
                  <a:pt x="773557" y="334429"/>
                </a:lnTo>
                <a:lnTo>
                  <a:pt x="931180" y="334429"/>
                </a:lnTo>
                <a:lnTo>
                  <a:pt x="1008105" y="148330"/>
                </a:lnTo>
                <a:lnTo>
                  <a:pt x="1013696" y="120341"/>
                </a:lnTo>
                <a:lnTo>
                  <a:pt x="1010635" y="99480"/>
                </a:lnTo>
                <a:lnTo>
                  <a:pt x="1001801" y="80458"/>
                </a:lnTo>
                <a:lnTo>
                  <a:pt x="987722" y="64585"/>
                </a:lnTo>
                <a:lnTo>
                  <a:pt x="968923" y="53171"/>
                </a:lnTo>
                <a:lnTo>
                  <a:pt x="940490" y="47618"/>
                </a:lnTo>
                <a:close/>
              </a:path>
            </a:pathLst>
          </a:custGeom>
          <a:solidFill>
            <a:srgbClr val="FFFFFF"/>
          </a:solidFill>
        </p:spPr>
        <p:txBody>
          <a:bodyPr wrap="square" lIns="0" tIns="0" rIns="0" bIns="0" rtlCol="0"/>
          <a:lstStyle/>
          <a:p>
            <a:endParaRPr/>
          </a:p>
        </p:txBody>
      </p:sp>
      <p:sp>
        <p:nvSpPr>
          <p:cNvPr id="19" name="bg object 19"/>
          <p:cNvSpPr/>
          <p:nvPr/>
        </p:nvSpPr>
        <p:spPr>
          <a:xfrm>
            <a:off x="14659616" y="7649976"/>
            <a:ext cx="1428115" cy="2569845"/>
          </a:xfrm>
          <a:custGeom>
            <a:avLst/>
            <a:gdLst/>
            <a:ahLst/>
            <a:cxnLst/>
            <a:rect l="l" t="t" r="r" b="b"/>
            <a:pathLst>
              <a:path w="1428115" h="2569845">
                <a:moveTo>
                  <a:pt x="1427600" y="0"/>
                </a:moveTo>
                <a:lnTo>
                  <a:pt x="0" y="0"/>
                </a:lnTo>
                <a:lnTo>
                  <a:pt x="0" y="2569670"/>
                </a:lnTo>
                <a:lnTo>
                  <a:pt x="1427600" y="2569670"/>
                </a:lnTo>
                <a:lnTo>
                  <a:pt x="1427600" y="0"/>
                </a:lnTo>
                <a:close/>
              </a:path>
            </a:pathLst>
          </a:custGeom>
          <a:solidFill>
            <a:srgbClr val="EDCC4B"/>
          </a:solidFill>
        </p:spPr>
        <p:txBody>
          <a:bodyPr wrap="square" lIns="0" tIns="0" rIns="0" bIns="0" rtlCol="0"/>
          <a:lstStyle/>
          <a:p>
            <a:endParaRPr/>
          </a:p>
        </p:txBody>
      </p:sp>
      <p:pic>
        <p:nvPicPr>
          <p:cNvPr id="20" name="bg object 20"/>
          <p:cNvPicPr/>
          <p:nvPr/>
        </p:nvPicPr>
        <p:blipFill>
          <a:blip r:embed="rId2" cstate="print"/>
          <a:stretch>
            <a:fillRect/>
          </a:stretch>
        </p:blipFill>
        <p:spPr>
          <a:xfrm>
            <a:off x="15250182" y="8363823"/>
            <a:ext cx="246474" cy="246484"/>
          </a:xfrm>
          <a:prstGeom prst="rect">
            <a:avLst/>
          </a:prstGeom>
        </p:spPr>
      </p:pic>
      <p:pic>
        <p:nvPicPr>
          <p:cNvPr id="21" name="bg object 21"/>
          <p:cNvPicPr/>
          <p:nvPr/>
        </p:nvPicPr>
        <p:blipFill>
          <a:blip r:embed="rId2" cstate="print"/>
          <a:stretch>
            <a:fillRect/>
          </a:stretch>
        </p:blipFill>
        <p:spPr>
          <a:xfrm>
            <a:off x="15250182" y="8811576"/>
            <a:ext cx="246474" cy="246484"/>
          </a:xfrm>
          <a:prstGeom prst="rect">
            <a:avLst/>
          </a:prstGeom>
        </p:spPr>
      </p:pic>
      <p:pic>
        <p:nvPicPr>
          <p:cNvPr id="22" name="bg object 22"/>
          <p:cNvPicPr/>
          <p:nvPr/>
        </p:nvPicPr>
        <p:blipFill>
          <a:blip r:embed="rId2" cstate="print"/>
          <a:stretch>
            <a:fillRect/>
          </a:stretch>
        </p:blipFill>
        <p:spPr>
          <a:xfrm>
            <a:off x="15250182" y="9259329"/>
            <a:ext cx="246474" cy="246484"/>
          </a:xfrm>
          <a:prstGeom prst="rect">
            <a:avLst/>
          </a:prstGeom>
        </p:spPr>
      </p:pic>
      <p:sp>
        <p:nvSpPr>
          <p:cNvPr id="23" name="bg object 23"/>
          <p:cNvSpPr/>
          <p:nvPr/>
        </p:nvSpPr>
        <p:spPr>
          <a:xfrm>
            <a:off x="14353030" y="8269511"/>
            <a:ext cx="306705" cy="354330"/>
          </a:xfrm>
          <a:custGeom>
            <a:avLst/>
            <a:gdLst/>
            <a:ahLst/>
            <a:cxnLst/>
            <a:rect l="l" t="t" r="r" b="b"/>
            <a:pathLst>
              <a:path w="306705" h="354329">
                <a:moveTo>
                  <a:pt x="306587" y="0"/>
                </a:moveTo>
                <a:lnTo>
                  <a:pt x="0" y="176999"/>
                </a:lnTo>
                <a:lnTo>
                  <a:pt x="306587" y="354010"/>
                </a:lnTo>
                <a:lnTo>
                  <a:pt x="306587" y="0"/>
                </a:lnTo>
                <a:close/>
              </a:path>
            </a:pathLst>
          </a:custGeom>
          <a:solidFill>
            <a:srgbClr val="F4CC1C"/>
          </a:solidFill>
        </p:spPr>
        <p:txBody>
          <a:bodyPr wrap="square" lIns="0" tIns="0" rIns="0" bIns="0" rtlCol="0"/>
          <a:lstStyle/>
          <a:p>
            <a:endParaRPr/>
          </a:p>
        </p:txBody>
      </p:sp>
      <p:sp>
        <p:nvSpPr>
          <p:cNvPr id="24" name="bg object 24"/>
          <p:cNvSpPr/>
          <p:nvPr/>
        </p:nvSpPr>
        <p:spPr>
          <a:xfrm>
            <a:off x="17040392" y="1141522"/>
            <a:ext cx="1416050" cy="2273300"/>
          </a:xfrm>
          <a:custGeom>
            <a:avLst/>
            <a:gdLst/>
            <a:ahLst/>
            <a:cxnLst/>
            <a:rect l="l" t="t" r="r" b="b"/>
            <a:pathLst>
              <a:path w="1416050" h="2273300">
                <a:moveTo>
                  <a:pt x="707905" y="0"/>
                </a:moveTo>
                <a:lnTo>
                  <a:pt x="659437" y="1633"/>
                </a:lnTo>
                <a:lnTo>
                  <a:pt x="611847" y="6462"/>
                </a:lnTo>
                <a:lnTo>
                  <a:pt x="565238" y="14382"/>
                </a:lnTo>
                <a:lnTo>
                  <a:pt x="519717" y="25287"/>
                </a:lnTo>
                <a:lnTo>
                  <a:pt x="475388" y="39072"/>
                </a:lnTo>
                <a:lnTo>
                  <a:pt x="432357" y="55631"/>
                </a:lnTo>
                <a:lnTo>
                  <a:pt x="390731" y="74859"/>
                </a:lnTo>
                <a:lnTo>
                  <a:pt x="350613" y="96650"/>
                </a:lnTo>
                <a:lnTo>
                  <a:pt x="312110" y="120899"/>
                </a:lnTo>
                <a:lnTo>
                  <a:pt x="275326" y="147501"/>
                </a:lnTo>
                <a:lnTo>
                  <a:pt x="240368" y="176351"/>
                </a:lnTo>
                <a:lnTo>
                  <a:pt x="207341" y="207341"/>
                </a:lnTo>
                <a:lnTo>
                  <a:pt x="176351" y="240368"/>
                </a:lnTo>
                <a:lnTo>
                  <a:pt x="147501" y="275326"/>
                </a:lnTo>
                <a:lnTo>
                  <a:pt x="120899" y="312110"/>
                </a:lnTo>
                <a:lnTo>
                  <a:pt x="96650" y="350613"/>
                </a:lnTo>
                <a:lnTo>
                  <a:pt x="74859" y="390731"/>
                </a:lnTo>
                <a:lnTo>
                  <a:pt x="55631" y="432357"/>
                </a:lnTo>
                <a:lnTo>
                  <a:pt x="39072" y="475388"/>
                </a:lnTo>
                <a:lnTo>
                  <a:pt x="25287" y="519717"/>
                </a:lnTo>
                <a:lnTo>
                  <a:pt x="14382" y="565238"/>
                </a:lnTo>
                <a:lnTo>
                  <a:pt x="6462" y="611847"/>
                </a:lnTo>
                <a:lnTo>
                  <a:pt x="1633" y="659437"/>
                </a:lnTo>
                <a:lnTo>
                  <a:pt x="0" y="707905"/>
                </a:lnTo>
                <a:lnTo>
                  <a:pt x="0" y="2273197"/>
                </a:lnTo>
                <a:lnTo>
                  <a:pt x="1415789" y="2273197"/>
                </a:lnTo>
                <a:lnTo>
                  <a:pt x="1415789" y="1581805"/>
                </a:lnTo>
                <a:lnTo>
                  <a:pt x="572390" y="1581805"/>
                </a:lnTo>
                <a:lnTo>
                  <a:pt x="532633" y="1545357"/>
                </a:lnTo>
                <a:lnTo>
                  <a:pt x="498026" y="1508973"/>
                </a:lnTo>
                <a:lnTo>
                  <a:pt x="467912" y="1471904"/>
                </a:lnTo>
                <a:lnTo>
                  <a:pt x="441636" y="1433400"/>
                </a:lnTo>
                <a:lnTo>
                  <a:pt x="418542" y="1392711"/>
                </a:lnTo>
                <a:lnTo>
                  <a:pt x="397974" y="1349089"/>
                </a:lnTo>
                <a:lnTo>
                  <a:pt x="379276" y="1301782"/>
                </a:lnTo>
                <a:lnTo>
                  <a:pt x="363534" y="1252063"/>
                </a:lnTo>
                <a:lnTo>
                  <a:pt x="353208" y="1200782"/>
                </a:lnTo>
                <a:lnTo>
                  <a:pt x="350889" y="1149777"/>
                </a:lnTo>
                <a:lnTo>
                  <a:pt x="359171" y="1100886"/>
                </a:lnTo>
                <a:lnTo>
                  <a:pt x="380648" y="1055946"/>
                </a:lnTo>
                <a:lnTo>
                  <a:pt x="416937" y="1018614"/>
                </a:lnTo>
                <a:lnTo>
                  <a:pt x="463644" y="993837"/>
                </a:lnTo>
                <a:lnTo>
                  <a:pt x="516207" y="982660"/>
                </a:lnTo>
                <a:lnTo>
                  <a:pt x="1415789" y="982660"/>
                </a:lnTo>
                <a:lnTo>
                  <a:pt x="1415789" y="707905"/>
                </a:lnTo>
                <a:lnTo>
                  <a:pt x="1414156" y="659437"/>
                </a:lnTo>
                <a:lnTo>
                  <a:pt x="1409327" y="611847"/>
                </a:lnTo>
                <a:lnTo>
                  <a:pt x="1401408" y="565238"/>
                </a:lnTo>
                <a:lnTo>
                  <a:pt x="1390503" y="519717"/>
                </a:lnTo>
                <a:lnTo>
                  <a:pt x="1376719" y="475388"/>
                </a:lnTo>
                <a:lnTo>
                  <a:pt x="1360161" y="432357"/>
                </a:lnTo>
                <a:lnTo>
                  <a:pt x="1340934" y="390731"/>
                </a:lnTo>
                <a:lnTo>
                  <a:pt x="1319144" y="350613"/>
                </a:lnTo>
                <a:lnTo>
                  <a:pt x="1294896" y="312110"/>
                </a:lnTo>
                <a:lnTo>
                  <a:pt x="1268295" y="275326"/>
                </a:lnTo>
                <a:lnTo>
                  <a:pt x="1239447" y="240368"/>
                </a:lnTo>
                <a:lnTo>
                  <a:pt x="1208457" y="207341"/>
                </a:lnTo>
                <a:lnTo>
                  <a:pt x="1175432" y="176351"/>
                </a:lnTo>
                <a:lnTo>
                  <a:pt x="1140475" y="147501"/>
                </a:lnTo>
                <a:lnTo>
                  <a:pt x="1103693" y="120899"/>
                </a:lnTo>
                <a:lnTo>
                  <a:pt x="1065191" y="96650"/>
                </a:lnTo>
                <a:lnTo>
                  <a:pt x="1025074" y="74859"/>
                </a:lnTo>
                <a:lnTo>
                  <a:pt x="983449" y="55631"/>
                </a:lnTo>
                <a:lnTo>
                  <a:pt x="940419" y="39072"/>
                </a:lnTo>
                <a:lnTo>
                  <a:pt x="896091" y="25287"/>
                </a:lnTo>
                <a:lnTo>
                  <a:pt x="850570" y="14382"/>
                </a:lnTo>
                <a:lnTo>
                  <a:pt x="803962" y="6462"/>
                </a:lnTo>
                <a:lnTo>
                  <a:pt x="756372" y="1633"/>
                </a:lnTo>
                <a:lnTo>
                  <a:pt x="707905" y="0"/>
                </a:lnTo>
                <a:close/>
              </a:path>
              <a:path w="1416050" h="2273300">
                <a:moveTo>
                  <a:pt x="1415789" y="1051716"/>
                </a:moveTo>
                <a:lnTo>
                  <a:pt x="872580" y="1051716"/>
                </a:lnTo>
                <a:lnTo>
                  <a:pt x="916941" y="1054486"/>
                </a:lnTo>
                <a:lnTo>
                  <a:pt x="959604" y="1066820"/>
                </a:lnTo>
                <a:lnTo>
                  <a:pt x="997602" y="1088469"/>
                </a:lnTo>
                <a:lnTo>
                  <a:pt x="1027968" y="1119180"/>
                </a:lnTo>
                <a:lnTo>
                  <a:pt x="1047007" y="1155596"/>
                </a:lnTo>
                <a:lnTo>
                  <a:pt x="1057732" y="1198052"/>
                </a:lnTo>
                <a:lnTo>
                  <a:pt x="1059935" y="1241804"/>
                </a:lnTo>
                <a:lnTo>
                  <a:pt x="1053412" y="1282107"/>
                </a:lnTo>
                <a:lnTo>
                  <a:pt x="1039439" y="1317927"/>
                </a:lnTo>
                <a:lnTo>
                  <a:pt x="1020225" y="1351423"/>
                </a:lnTo>
                <a:lnTo>
                  <a:pt x="996943" y="1382663"/>
                </a:lnTo>
                <a:lnTo>
                  <a:pt x="970766" y="1411716"/>
                </a:lnTo>
                <a:lnTo>
                  <a:pt x="932973" y="1446481"/>
                </a:lnTo>
                <a:lnTo>
                  <a:pt x="891287" y="1477691"/>
                </a:lnTo>
                <a:lnTo>
                  <a:pt x="846683" y="1505170"/>
                </a:lnTo>
                <a:lnTo>
                  <a:pt x="800137" y="1528741"/>
                </a:lnTo>
                <a:lnTo>
                  <a:pt x="752622" y="1548228"/>
                </a:lnTo>
                <a:lnTo>
                  <a:pt x="705115" y="1563454"/>
                </a:lnTo>
                <a:lnTo>
                  <a:pt x="658590" y="1574243"/>
                </a:lnTo>
                <a:lnTo>
                  <a:pt x="614024" y="1580419"/>
                </a:lnTo>
                <a:lnTo>
                  <a:pt x="572390" y="1581805"/>
                </a:lnTo>
                <a:lnTo>
                  <a:pt x="1415789" y="1581805"/>
                </a:lnTo>
                <a:lnTo>
                  <a:pt x="1415789" y="1051716"/>
                </a:lnTo>
                <a:close/>
              </a:path>
              <a:path w="1416050" h="2273300">
                <a:moveTo>
                  <a:pt x="1415789" y="982660"/>
                </a:moveTo>
                <a:lnTo>
                  <a:pt x="516207" y="982660"/>
                </a:lnTo>
                <a:lnTo>
                  <a:pt x="570066" y="986127"/>
                </a:lnTo>
                <a:lnTo>
                  <a:pt x="615064" y="1003253"/>
                </a:lnTo>
                <a:lnTo>
                  <a:pt x="648663" y="1031200"/>
                </a:lnTo>
                <a:lnTo>
                  <a:pt x="677703" y="1068227"/>
                </a:lnTo>
                <a:lnTo>
                  <a:pt x="709025" y="1112594"/>
                </a:lnTo>
                <a:lnTo>
                  <a:pt x="745718" y="1088675"/>
                </a:lnTo>
                <a:lnTo>
                  <a:pt x="785965" y="1070045"/>
                </a:lnTo>
                <a:lnTo>
                  <a:pt x="828631" y="1057471"/>
                </a:lnTo>
                <a:lnTo>
                  <a:pt x="872580" y="1051716"/>
                </a:lnTo>
                <a:lnTo>
                  <a:pt x="1415789" y="1051716"/>
                </a:lnTo>
                <a:lnTo>
                  <a:pt x="1415789" y="982660"/>
                </a:lnTo>
                <a:close/>
              </a:path>
            </a:pathLst>
          </a:custGeom>
          <a:solidFill>
            <a:srgbClr val="D65024"/>
          </a:solidFill>
        </p:spPr>
        <p:txBody>
          <a:bodyPr wrap="square" lIns="0" tIns="0" rIns="0" bIns="0" rtlCol="0"/>
          <a:lstStyle/>
          <a:p>
            <a:endParaRPr/>
          </a:p>
        </p:txBody>
      </p:sp>
      <p:sp>
        <p:nvSpPr>
          <p:cNvPr id="25" name="bg object 25"/>
          <p:cNvSpPr/>
          <p:nvPr/>
        </p:nvSpPr>
        <p:spPr>
          <a:xfrm>
            <a:off x="17391282" y="2124182"/>
            <a:ext cx="709295" cy="599440"/>
          </a:xfrm>
          <a:custGeom>
            <a:avLst/>
            <a:gdLst/>
            <a:ahLst/>
            <a:cxnLst/>
            <a:rect l="l" t="t" r="r" b="b"/>
            <a:pathLst>
              <a:path w="709294" h="599439">
                <a:moveTo>
                  <a:pt x="165318" y="0"/>
                </a:moveTo>
                <a:lnTo>
                  <a:pt x="112754" y="11176"/>
                </a:lnTo>
                <a:lnTo>
                  <a:pt x="66047" y="35953"/>
                </a:lnTo>
                <a:lnTo>
                  <a:pt x="29758" y="73286"/>
                </a:lnTo>
                <a:lnTo>
                  <a:pt x="8282" y="118225"/>
                </a:lnTo>
                <a:lnTo>
                  <a:pt x="0" y="167116"/>
                </a:lnTo>
                <a:lnTo>
                  <a:pt x="2318" y="218121"/>
                </a:lnTo>
                <a:lnTo>
                  <a:pt x="12645" y="269402"/>
                </a:lnTo>
                <a:lnTo>
                  <a:pt x="28386" y="319121"/>
                </a:lnTo>
                <a:lnTo>
                  <a:pt x="47084" y="366428"/>
                </a:lnTo>
                <a:lnTo>
                  <a:pt x="67652" y="410051"/>
                </a:lnTo>
                <a:lnTo>
                  <a:pt x="90746" y="450739"/>
                </a:lnTo>
                <a:lnTo>
                  <a:pt x="117022" y="489243"/>
                </a:lnTo>
                <a:lnTo>
                  <a:pt x="147136" y="526312"/>
                </a:lnTo>
                <a:lnTo>
                  <a:pt x="181744" y="562696"/>
                </a:lnTo>
                <a:lnTo>
                  <a:pt x="221501" y="599144"/>
                </a:lnTo>
                <a:lnTo>
                  <a:pt x="263134" y="597758"/>
                </a:lnTo>
                <a:lnTo>
                  <a:pt x="307701" y="591583"/>
                </a:lnTo>
                <a:lnTo>
                  <a:pt x="354225" y="580794"/>
                </a:lnTo>
                <a:lnTo>
                  <a:pt x="401732" y="565567"/>
                </a:lnTo>
                <a:lnTo>
                  <a:pt x="449247" y="546081"/>
                </a:lnTo>
                <a:lnTo>
                  <a:pt x="495794" y="522510"/>
                </a:lnTo>
                <a:lnTo>
                  <a:pt x="540398" y="495031"/>
                </a:lnTo>
                <a:lnTo>
                  <a:pt x="582084" y="463820"/>
                </a:lnTo>
                <a:lnTo>
                  <a:pt x="619876" y="429055"/>
                </a:lnTo>
                <a:lnTo>
                  <a:pt x="646054" y="400003"/>
                </a:lnTo>
                <a:lnTo>
                  <a:pt x="669335" y="368762"/>
                </a:lnTo>
                <a:lnTo>
                  <a:pt x="688549" y="335266"/>
                </a:lnTo>
                <a:lnTo>
                  <a:pt x="702523" y="299446"/>
                </a:lnTo>
                <a:lnTo>
                  <a:pt x="709046" y="259144"/>
                </a:lnTo>
                <a:lnTo>
                  <a:pt x="706842" y="215391"/>
                </a:lnTo>
                <a:lnTo>
                  <a:pt x="696118" y="172935"/>
                </a:lnTo>
                <a:lnTo>
                  <a:pt x="677079" y="136519"/>
                </a:lnTo>
                <a:lnTo>
                  <a:pt x="646712" y="105808"/>
                </a:lnTo>
                <a:lnTo>
                  <a:pt x="608714" y="84160"/>
                </a:lnTo>
                <a:lnTo>
                  <a:pt x="566051" y="71825"/>
                </a:lnTo>
                <a:lnTo>
                  <a:pt x="521691" y="69055"/>
                </a:lnTo>
                <a:lnTo>
                  <a:pt x="477741" y="74810"/>
                </a:lnTo>
                <a:lnTo>
                  <a:pt x="435075" y="87385"/>
                </a:lnTo>
                <a:lnTo>
                  <a:pt x="394829" y="106014"/>
                </a:lnTo>
                <a:lnTo>
                  <a:pt x="358135" y="129933"/>
                </a:lnTo>
                <a:lnTo>
                  <a:pt x="326814" y="85566"/>
                </a:lnTo>
                <a:lnTo>
                  <a:pt x="297773" y="48539"/>
                </a:lnTo>
                <a:lnTo>
                  <a:pt x="264174" y="20592"/>
                </a:lnTo>
                <a:lnTo>
                  <a:pt x="219176" y="3466"/>
                </a:lnTo>
                <a:lnTo>
                  <a:pt x="165318" y="0"/>
                </a:lnTo>
                <a:close/>
              </a:path>
            </a:pathLst>
          </a:custGeom>
          <a:solidFill>
            <a:srgbClr val="FFFFFF"/>
          </a:solidFill>
        </p:spPr>
        <p:txBody>
          <a:bodyPr wrap="square" lIns="0" tIns="0" rIns="0" bIns="0" rtlCol="0"/>
          <a:lstStyle/>
          <a:p>
            <a:endParaRPr/>
          </a:p>
        </p:txBody>
      </p:sp>
      <p:sp>
        <p:nvSpPr>
          <p:cNvPr id="2" name="Holder 2"/>
          <p:cNvSpPr>
            <a:spLocks noGrp="1"/>
          </p:cNvSpPr>
          <p:nvPr>
            <p:ph type="ctrTitle"/>
          </p:nvPr>
        </p:nvSpPr>
        <p:spPr>
          <a:xfrm>
            <a:off x="1233621" y="5125348"/>
            <a:ext cx="5300345" cy="2056129"/>
          </a:xfrm>
          <a:prstGeom prst="rect">
            <a:avLst/>
          </a:prstGeom>
        </p:spPr>
        <p:txBody>
          <a:bodyPr wrap="square" lIns="0" tIns="0" rIns="0" bIns="0">
            <a:spAutoFit/>
          </a:bodyPr>
          <a:lstStyle>
            <a:lvl1pPr>
              <a:defRPr sz="5900" b="1" i="0">
                <a:solidFill>
                  <a:srgbClr val="F4CC1C"/>
                </a:solidFill>
                <a:latin typeface="Nexa Black"/>
                <a:cs typeface="Nexa Black"/>
              </a:defRPr>
            </a:lvl1pPr>
          </a:lstStyle>
          <a:p>
            <a:endParaRPr/>
          </a:p>
        </p:txBody>
      </p:sp>
      <p:sp>
        <p:nvSpPr>
          <p:cNvPr id="3" name="Holder 3"/>
          <p:cNvSpPr>
            <a:spLocks noGrp="1"/>
          </p:cNvSpPr>
          <p:nvPr>
            <p:ph type="subTitle" idx="4"/>
          </p:nvPr>
        </p:nvSpPr>
        <p:spPr>
          <a:xfrm>
            <a:off x="3015615" y="6333236"/>
            <a:ext cx="14072870" cy="2827337"/>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30/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age breaker - style 2 pink">
    <p:bg>
      <p:bgPr>
        <a:solidFill>
          <a:schemeClr val="accent3"/>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CA2589EB-A858-E472-2917-CC77FB316E02}"/>
              </a:ext>
            </a:extLst>
          </p:cNvPr>
          <p:cNvGrpSpPr/>
          <p:nvPr userDrawn="1"/>
        </p:nvGrpSpPr>
        <p:grpSpPr>
          <a:xfrm>
            <a:off x="12539117" y="6587222"/>
            <a:ext cx="2363751" cy="2363751"/>
            <a:chOff x="10204450" y="6587222"/>
            <a:chExt cx="2363751" cy="2363751"/>
          </a:xfrm>
        </p:grpSpPr>
        <p:pic>
          <p:nvPicPr>
            <p:cNvPr id="11" name="Graphic 10">
              <a:extLst>
                <a:ext uri="{FF2B5EF4-FFF2-40B4-BE49-F238E27FC236}">
                  <a16:creationId xmlns:a16="http://schemas.microsoft.com/office/drawing/2014/main" id="{2E804DE9-0419-2055-79ED-9080EEB0BAA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04450" y="6587222"/>
              <a:ext cx="2363751" cy="2363751"/>
            </a:xfrm>
            <a:prstGeom prst="rect">
              <a:avLst/>
            </a:prstGeom>
          </p:spPr>
        </p:pic>
        <p:pic>
          <p:nvPicPr>
            <p:cNvPr id="12" name="Graphic 11">
              <a:extLst>
                <a:ext uri="{FF2B5EF4-FFF2-40B4-BE49-F238E27FC236}">
                  <a16:creationId xmlns:a16="http://schemas.microsoft.com/office/drawing/2014/main" id="{A179987E-CBCB-616B-E16D-049BEFB97BE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626058" y="7008830"/>
              <a:ext cx="1520535" cy="1520535"/>
            </a:xfrm>
            <a:prstGeom prst="rect">
              <a:avLst/>
            </a:prstGeom>
          </p:spPr>
        </p:pic>
      </p:grpSp>
      <p:grpSp>
        <p:nvGrpSpPr>
          <p:cNvPr id="13" name="Group 12">
            <a:extLst>
              <a:ext uri="{FF2B5EF4-FFF2-40B4-BE49-F238E27FC236}">
                <a16:creationId xmlns:a16="http://schemas.microsoft.com/office/drawing/2014/main" id="{6FE2A735-C532-EEBC-4FDB-3899380FF37F}"/>
              </a:ext>
            </a:extLst>
          </p:cNvPr>
          <p:cNvGrpSpPr/>
          <p:nvPr userDrawn="1"/>
        </p:nvGrpSpPr>
        <p:grpSpPr>
          <a:xfrm>
            <a:off x="14434038" y="7635875"/>
            <a:ext cx="1776646" cy="2619367"/>
            <a:chOff x="16277188" y="7634492"/>
            <a:chExt cx="1776646" cy="2619367"/>
          </a:xfrm>
        </p:grpSpPr>
        <p:sp>
          <p:nvSpPr>
            <p:cNvPr id="14" name="object 3">
              <a:extLst>
                <a:ext uri="{FF2B5EF4-FFF2-40B4-BE49-F238E27FC236}">
                  <a16:creationId xmlns:a16="http://schemas.microsoft.com/office/drawing/2014/main" id="{48207EDC-7DBD-4181-28A2-101FFE9C80DA}"/>
                </a:ext>
              </a:extLst>
            </p:cNvPr>
            <p:cNvSpPr/>
            <p:nvPr/>
          </p:nvSpPr>
          <p:spPr>
            <a:xfrm rot="5400000">
              <a:off x="15855827" y="8055853"/>
              <a:ext cx="2619367" cy="1776646"/>
            </a:xfrm>
            <a:custGeom>
              <a:avLst/>
              <a:gdLst>
                <a:gd name="connsiteX0" fmla="*/ 8083041 w 8083041"/>
                <a:gd name="connsiteY0" fmla="*/ 0 h 1997467"/>
                <a:gd name="connsiteX1" fmla="*/ 0 w 8083041"/>
                <a:gd name="connsiteY1" fmla="*/ 0 h 1997467"/>
                <a:gd name="connsiteX2" fmla="*/ 0 w 8083041"/>
                <a:gd name="connsiteY2" fmla="*/ 1564957 h 1997467"/>
                <a:gd name="connsiteX3" fmla="*/ 401778 w 8083041"/>
                <a:gd name="connsiteY3" fmla="*/ 1564957 h 1997467"/>
                <a:gd name="connsiteX4" fmla="*/ 656587 w 8083041"/>
                <a:gd name="connsiteY4" fmla="*/ 1997467 h 1997467"/>
                <a:gd name="connsiteX5" fmla="*/ 843084 w 8083041"/>
                <a:gd name="connsiteY5" fmla="*/ 1564957 h 1997467"/>
                <a:gd name="connsiteX6" fmla="*/ 4145523 w 8083041"/>
                <a:gd name="connsiteY6" fmla="*/ 1564957 h 1997467"/>
                <a:gd name="connsiteX7" fmla="*/ 8083041 w 8083041"/>
                <a:gd name="connsiteY7" fmla="*/ 0 h 1997467"/>
                <a:gd name="connsiteX0" fmla="*/ 4145522 w 4145523"/>
                <a:gd name="connsiteY0" fmla="*/ 0 h 1997467"/>
                <a:gd name="connsiteX1" fmla="*/ 0 w 4145523"/>
                <a:gd name="connsiteY1" fmla="*/ 0 h 1997467"/>
                <a:gd name="connsiteX2" fmla="*/ 0 w 4145523"/>
                <a:gd name="connsiteY2" fmla="*/ 1564957 h 1997467"/>
                <a:gd name="connsiteX3" fmla="*/ 401778 w 4145523"/>
                <a:gd name="connsiteY3" fmla="*/ 1564957 h 1997467"/>
                <a:gd name="connsiteX4" fmla="*/ 656587 w 4145523"/>
                <a:gd name="connsiteY4" fmla="*/ 1997467 h 1997467"/>
                <a:gd name="connsiteX5" fmla="*/ 843084 w 4145523"/>
                <a:gd name="connsiteY5" fmla="*/ 1564957 h 1997467"/>
                <a:gd name="connsiteX6" fmla="*/ 4145523 w 4145523"/>
                <a:gd name="connsiteY6" fmla="*/ 1564957 h 1997467"/>
                <a:gd name="connsiteX7" fmla="*/ 4145522 w 4145523"/>
                <a:gd name="connsiteY7" fmla="*/ 0 h 1997467"/>
                <a:gd name="connsiteX0" fmla="*/ 2943955 w 4145523"/>
                <a:gd name="connsiteY0" fmla="*/ 0 h 1997467"/>
                <a:gd name="connsiteX1" fmla="*/ 0 w 4145523"/>
                <a:gd name="connsiteY1" fmla="*/ 0 h 1997467"/>
                <a:gd name="connsiteX2" fmla="*/ 0 w 4145523"/>
                <a:gd name="connsiteY2" fmla="*/ 1564957 h 1997467"/>
                <a:gd name="connsiteX3" fmla="*/ 401778 w 4145523"/>
                <a:gd name="connsiteY3" fmla="*/ 1564957 h 1997467"/>
                <a:gd name="connsiteX4" fmla="*/ 656587 w 4145523"/>
                <a:gd name="connsiteY4" fmla="*/ 1997467 h 1997467"/>
                <a:gd name="connsiteX5" fmla="*/ 843084 w 4145523"/>
                <a:gd name="connsiteY5" fmla="*/ 1564957 h 1997467"/>
                <a:gd name="connsiteX6" fmla="*/ 4145523 w 4145523"/>
                <a:gd name="connsiteY6" fmla="*/ 1564957 h 1997467"/>
                <a:gd name="connsiteX7" fmla="*/ 2943955 w 4145523"/>
                <a:gd name="connsiteY7" fmla="*/ 0 h 1997467"/>
                <a:gd name="connsiteX0" fmla="*/ 2943955 w 2943955"/>
                <a:gd name="connsiteY0" fmla="*/ 0 h 1997467"/>
                <a:gd name="connsiteX1" fmla="*/ 0 w 2943955"/>
                <a:gd name="connsiteY1" fmla="*/ 0 h 1997467"/>
                <a:gd name="connsiteX2" fmla="*/ 0 w 2943955"/>
                <a:gd name="connsiteY2" fmla="*/ 1564957 h 1997467"/>
                <a:gd name="connsiteX3" fmla="*/ 401778 w 2943955"/>
                <a:gd name="connsiteY3" fmla="*/ 1564957 h 1997467"/>
                <a:gd name="connsiteX4" fmla="*/ 656587 w 2943955"/>
                <a:gd name="connsiteY4" fmla="*/ 1997467 h 1997467"/>
                <a:gd name="connsiteX5" fmla="*/ 843084 w 2943955"/>
                <a:gd name="connsiteY5" fmla="*/ 1564957 h 1997467"/>
                <a:gd name="connsiteX6" fmla="*/ 2928842 w 2943955"/>
                <a:gd name="connsiteY6" fmla="*/ 1564957 h 1997467"/>
                <a:gd name="connsiteX7" fmla="*/ 2943955 w 2943955"/>
                <a:gd name="connsiteY7" fmla="*/ 0 h 1997467"/>
                <a:gd name="connsiteX0" fmla="*/ 2943955 w 2943955"/>
                <a:gd name="connsiteY0" fmla="*/ 0 h 1997467"/>
                <a:gd name="connsiteX1" fmla="*/ 0 w 2943955"/>
                <a:gd name="connsiteY1" fmla="*/ 113355 h 1997467"/>
                <a:gd name="connsiteX2" fmla="*/ 0 w 2943955"/>
                <a:gd name="connsiteY2" fmla="*/ 1564957 h 1997467"/>
                <a:gd name="connsiteX3" fmla="*/ 401778 w 2943955"/>
                <a:gd name="connsiteY3" fmla="*/ 1564957 h 1997467"/>
                <a:gd name="connsiteX4" fmla="*/ 656587 w 2943955"/>
                <a:gd name="connsiteY4" fmla="*/ 1997467 h 1997467"/>
                <a:gd name="connsiteX5" fmla="*/ 843084 w 2943955"/>
                <a:gd name="connsiteY5" fmla="*/ 1564957 h 1997467"/>
                <a:gd name="connsiteX6" fmla="*/ 2928842 w 2943955"/>
                <a:gd name="connsiteY6" fmla="*/ 1564957 h 1997467"/>
                <a:gd name="connsiteX7" fmla="*/ 2943955 w 2943955"/>
                <a:gd name="connsiteY7" fmla="*/ 0 h 1997467"/>
                <a:gd name="connsiteX0" fmla="*/ 2936398 w 2936398"/>
                <a:gd name="connsiteY0" fmla="*/ 7557 h 1884112"/>
                <a:gd name="connsiteX1" fmla="*/ 0 w 2936398"/>
                <a:gd name="connsiteY1" fmla="*/ 0 h 1884112"/>
                <a:gd name="connsiteX2" fmla="*/ 0 w 2936398"/>
                <a:gd name="connsiteY2" fmla="*/ 1451602 h 1884112"/>
                <a:gd name="connsiteX3" fmla="*/ 401778 w 2936398"/>
                <a:gd name="connsiteY3" fmla="*/ 1451602 h 1884112"/>
                <a:gd name="connsiteX4" fmla="*/ 656587 w 2936398"/>
                <a:gd name="connsiteY4" fmla="*/ 1884112 h 1884112"/>
                <a:gd name="connsiteX5" fmla="*/ 843084 w 2936398"/>
                <a:gd name="connsiteY5" fmla="*/ 1451602 h 1884112"/>
                <a:gd name="connsiteX6" fmla="*/ 2928842 w 2936398"/>
                <a:gd name="connsiteY6" fmla="*/ 1451602 h 1884112"/>
                <a:gd name="connsiteX7" fmla="*/ 2936398 w 2936398"/>
                <a:gd name="connsiteY7" fmla="*/ 7557 h 1884112"/>
                <a:gd name="connsiteX0" fmla="*/ 2936401 w 2936401"/>
                <a:gd name="connsiteY0" fmla="*/ 0 h 2052111"/>
                <a:gd name="connsiteX1" fmla="*/ 0 w 2936401"/>
                <a:gd name="connsiteY1" fmla="*/ 167999 h 2052111"/>
                <a:gd name="connsiteX2" fmla="*/ 0 w 2936401"/>
                <a:gd name="connsiteY2" fmla="*/ 1619601 h 2052111"/>
                <a:gd name="connsiteX3" fmla="*/ 401778 w 2936401"/>
                <a:gd name="connsiteY3" fmla="*/ 1619601 h 2052111"/>
                <a:gd name="connsiteX4" fmla="*/ 656587 w 2936401"/>
                <a:gd name="connsiteY4" fmla="*/ 2052111 h 2052111"/>
                <a:gd name="connsiteX5" fmla="*/ 843084 w 2936401"/>
                <a:gd name="connsiteY5" fmla="*/ 1619601 h 2052111"/>
                <a:gd name="connsiteX6" fmla="*/ 2928842 w 2936401"/>
                <a:gd name="connsiteY6" fmla="*/ 1619601 h 2052111"/>
                <a:gd name="connsiteX7" fmla="*/ 2936401 w 2936401"/>
                <a:gd name="connsiteY7" fmla="*/ 0 h 2052111"/>
                <a:gd name="connsiteX0" fmla="*/ 2936401 w 2936401"/>
                <a:gd name="connsiteY0" fmla="*/ 35276 h 2087387"/>
                <a:gd name="connsiteX1" fmla="*/ 0 w 2936401"/>
                <a:gd name="connsiteY1" fmla="*/ 0 h 2087387"/>
                <a:gd name="connsiteX2" fmla="*/ 0 w 2936401"/>
                <a:gd name="connsiteY2" fmla="*/ 1654877 h 2087387"/>
                <a:gd name="connsiteX3" fmla="*/ 401778 w 2936401"/>
                <a:gd name="connsiteY3" fmla="*/ 1654877 h 2087387"/>
                <a:gd name="connsiteX4" fmla="*/ 656587 w 2936401"/>
                <a:gd name="connsiteY4" fmla="*/ 2087387 h 2087387"/>
                <a:gd name="connsiteX5" fmla="*/ 843084 w 2936401"/>
                <a:gd name="connsiteY5" fmla="*/ 1654877 h 2087387"/>
                <a:gd name="connsiteX6" fmla="*/ 2928842 w 2936401"/>
                <a:gd name="connsiteY6" fmla="*/ 1654877 h 2087387"/>
                <a:gd name="connsiteX7" fmla="*/ 2936401 w 2936401"/>
                <a:gd name="connsiteY7" fmla="*/ 35276 h 2087387"/>
                <a:gd name="connsiteX0" fmla="*/ 2936401 w 2936401"/>
                <a:gd name="connsiteY0" fmla="*/ 0 h 2052111"/>
                <a:gd name="connsiteX1" fmla="*/ 9243 w 2936401"/>
                <a:gd name="connsiteY1" fmla="*/ 1683 h 2052111"/>
                <a:gd name="connsiteX2" fmla="*/ 0 w 2936401"/>
                <a:gd name="connsiteY2" fmla="*/ 1619601 h 2052111"/>
                <a:gd name="connsiteX3" fmla="*/ 401778 w 2936401"/>
                <a:gd name="connsiteY3" fmla="*/ 1619601 h 2052111"/>
                <a:gd name="connsiteX4" fmla="*/ 656587 w 2936401"/>
                <a:gd name="connsiteY4" fmla="*/ 2052111 h 2052111"/>
                <a:gd name="connsiteX5" fmla="*/ 843084 w 2936401"/>
                <a:gd name="connsiteY5" fmla="*/ 1619601 h 2052111"/>
                <a:gd name="connsiteX6" fmla="*/ 2928842 w 2936401"/>
                <a:gd name="connsiteY6" fmla="*/ 1619601 h 2052111"/>
                <a:gd name="connsiteX7" fmla="*/ 2936401 w 2936401"/>
                <a:gd name="connsiteY7" fmla="*/ 0 h 2052111"/>
                <a:gd name="connsiteX0" fmla="*/ 2937953 w 2937953"/>
                <a:gd name="connsiteY0" fmla="*/ 0 h 2052111"/>
                <a:gd name="connsiteX1" fmla="*/ 0 w 2937953"/>
                <a:gd name="connsiteY1" fmla="*/ 7081 h 2052111"/>
                <a:gd name="connsiteX2" fmla="*/ 1552 w 2937953"/>
                <a:gd name="connsiteY2" fmla="*/ 1619601 h 2052111"/>
                <a:gd name="connsiteX3" fmla="*/ 403330 w 2937953"/>
                <a:gd name="connsiteY3" fmla="*/ 1619601 h 2052111"/>
                <a:gd name="connsiteX4" fmla="*/ 658139 w 2937953"/>
                <a:gd name="connsiteY4" fmla="*/ 2052111 h 2052111"/>
                <a:gd name="connsiteX5" fmla="*/ 844636 w 2937953"/>
                <a:gd name="connsiteY5" fmla="*/ 1619601 h 2052111"/>
                <a:gd name="connsiteX6" fmla="*/ 2930394 w 2937953"/>
                <a:gd name="connsiteY6" fmla="*/ 1619601 h 2052111"/>
                <a:gd name="connsiteX7" fmla="*/ 2937953 w 2937953"/>
                <a:gd name="connsiteY7" fmla="*/ 0 h 2052111"/>
                <a:gd name="connsiteX0" fmla="*/ 2937953 w 2937953"/>
                <a:gd name="connsiteY0" fmla="*/ 0 h 2052111"/>
                <a:gd name="connsiteX1" fmla="*/ 0 w 2937953"/>
                <a:gd name="connsiteY1" fmla="*/ 7081 h 2052111"/>
                <a:gd name="connsiteX2" fmla="*/ 1552 w 2937953"/>
                <a:gd name="connsiteY2" fmla="*/ 1619601 h 2052111"/>
                <a:gd name="connsiteX3" fmla="*/ 403330 w 2937953"/>
                <a:gd name="connsiteY3" fmla="*/ 1619601 h 2052111"/>
                <a:gd name="connsiteX4" fmla="*/ 658139 w 2937953"/>
                <a:gd name="connsiteY4" fmla="*/ 2052111 h 2052111"/>
                <a:gd name="connsiteX5" fmla="*/ 1103739 w 2937953"/>
                <a:gd name="connsiteY5" fmla="*/ 1619601 h 2052111"/>
                <a:gd name="connsiteX6" fmla="*/ 2930394 w 2937953"/>
                <a:gd name="connsiteY6" fmla="*/ 1619601 h 2052111"/>
                <a:gd name="connsiteX7" fmla="*/ 2937953 w 2937953"/>
                <a:gd name="connsiteY7" fmla="*/ 0 h 2052111"/>
                <a:gd name="connsiteX0" fmla="*/ 2937953 w 2937953"/>
                <a:gd name="connsiteY0" fmla="*/ 0 h 2052111"/>
                <a:gd name="connsiteX1" fmla="*/ 0 w 2937953"/>
                <a:gd name="connsiteY1" fmla="*/ 7081 h 2052111"/>
                <a:gd name="connsiteX2" fmla="*/ 1552 w 2937953"/>
                <a:gd name="connsiteY2" fmla="*/ 1619601 h 2052111"/>
                <a:gd name="connsiteX3" fmla="*/ 608454 w 2937953"/>
                <a:gd name="connsiteY3" fmla="*/ 1624999 h 2052111"/>
                <a:gd name="connsiteX4" fmla="*/ 658139 w 2937953"/>
                <a:gd name="connsiteY4" fmla="*/ 2052111 h 2052111"/>
                <a:gd name="connsiteX5" fmla="*/ 1103739 w 2937953"/>
                <a:gd name="connsiteY5" fmla="*/ 1619601 h 2052111"/>
                <a:gd name="connsiteX6" fmla="*/ 2930394 w 2937953"/>
                <a:gd name="connsiteY6" fmla="*/ 1619601 h 2052111"/>
                <a:gd name="connsiteX7" fmla="*/ 2937953 w 2937953"/>
                <a:gd name="connsiteY7" fmla="*/ 0 h 2052111"/>
                <a:gd name="connsiteX0" fmla="*/ 2937953 w 2937953"/>
                <a:gd name="connsiteY0" fmla="*/ 0 h 2057509"/>
                <a:gd name="connsiteX1" fmla="*/ 0 w 2937953"/>
                <a:gd name="connsiteY1" fmla="*/ 7081 h 2057509"/>
                <a:gd name="connsiteX2" fmla="*/ 1552 w 2937953"/>
                <a:gd name="connsiteY2" fmla="*/ 1619601 h 2057509"/>
                <a:gd name="connsiteX3" fmla="*/ 608454 w 2937953"/>
                <a:gd name="connsiteY3" fmla="*/ 1624999 h 2057509"/>
                <a:gd name="connsiteX4" fmla="*/ 857864 w 2937953"/>
                <a:gd name="connsiteY4" fmla="*/ 2057509 h 2057509"/>
                <a:gd name="connsiteX5" fmla="*/ 1103739 w 2937953"/>
                <a:gd name="connsiteY5" fmla="*/ 1619601 h 2057509"/>
                <a:gd name="connsiteX6" fmla="*/ 2930394 w 2937953"/>
                <a:gd name="connsiteY6" fmla="*/ 1619601 h 2057509"/>
                <a:gd name="connsiteX7" fmla="*/ 2937953 w 2937953"/>
                <a:gd name="connsiteY7" fmla="*/ 0 h 2057509"/>
                <a:gd name="connsiteX0" fmla="*/ 2937953 w 2937953"/>
                <a:gd name="connsiteY0" fmla="*/ 0 h 1992733"/>
                <a:gd name="connsiteX1" fmla="*/ 0 w 2937953"/>
                <a:gd name="connsiteY1" fmla="*/ 7081 h 1992733"/>
                <a:gd name="connsiteX2" fmla="*/ 1552 w 2937953"/>
                <a:gd name="connsiteY2" fmla="*/ 1619601 h 1992733"/>
                <a:gd name="connsiteX3" fmla="*/ 608454 w 2937953"/>
                <a:gd name="connsiteY3" fmla="*/ 1624999 h 1992733"/>
                <a:gd name="connsiteX4" fmla="*/ 863265 w 2937953"/>
                <a:gd name="connsiteY4" fmla="*/ 1992733 h 1992733"/>
                <a:gd name="connsiteX5" fmla="*/ 1103739 w 2937953"/>
                <a:gd name="connsiteY5" fmla="*/ 1619601 h 1992733"/>
                <a:gd name="connsiteX6" fmla="*/ 2930394 w 2937953"/>
                <a:gd name="connsiteY6" fmla="*/ 1619601 h 1992733"/>
                <a:gd name="connsiteX7" fmla="*/ 2937953 w 2937953"/>
                <a:gd name="connsiteY7" fmla="*/ 0 h 199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7953" h="1992733">
                  <a:moveTo>
                    <a:pt x="2937953" y="0"/>
                  </a:moveTo>
                  <a:lnTo>
                    <a:pt x="0" y="7081"/>
                  </a:lnTo>
                  <a:cubicBezTo>
                    <a:pt x="517" y="544588"/>
                    <a:pt x="1035" y="1082094"/>
                    <a:pt x="1552" y="1619601"/>
                  </a:cubicBezTo>
                  <a:lnTo>
                    <a:pt x="608454" y="1624999"/>
                  </a:lnTo>
                  <a:lnTo>
                    <a:pt x="863265" y="1992733"/>
                  </a:lnTo>
                  <a:lnTo>
                    <a:pt x="1103739" y="1619601"/>
                  </a:lnTo>
                  <a:lnTo>
                    <a:pt x="2930394" y="1619601"/>
                  </a:lnTo>
                  <a:cubicBezTo>
                    <a:pt x="2930394" y="1097949"/>
                    <a:pt x="2937953" y="521652"/>
                    <a:pt x="2937953" y="0"/>
                  </a:cubicBezTo>
                  <a:close/>
                </a:path>
              </a:pathLst>
            </a:custGeom>
            <a:solidFill>
              <a:schemeClr val="accent4"/>
            </a:solidFill>
          </p:spPr>
          <p:txBody>
            <a:bodyPr wrap="square" lIns="0" tIns="0" rIns="0" bIns="0" rtlCol="0"/>
            <a:lstStyle/>
            <a:p>
              <a:pPr algn="l" rtl="0"/>
              <a:endParaRPr>
                <a:latin typeface="Tahoma" panose="020B0604030504040204" pitchFamily="34" charset="0"/>
                <a:ea typeface="Tahoma" panose="020B0604030504040204" pitchFamily="34" charset="0"/>
                <a:cs typeface="Tahoma" panose="020B0604030504040204" pitchFamily="34" charset="0"/>
              </a:endParaRPr>
            </a:p>
          </p:txBody>
        </p:sp>
        <p:grpSp>
          <p:nvGrpSpPr>
            <p:cNvPr id="15" name="Group 14">
              <a:extLst>
                <a:ext uri="{FF2B5EF4-FFF2-40B4-BE49-F238E27FC236}">
                  <a16:creationId xmlns:a16="http://schemas.microsoft.com/office/drawing/2014/main" id="{0113AE9A-7B25-A314-BC28-83C1AD5DD7BC}"/>
                </a:ext>
              </a:extLst>
            </p:cNvPr>
            <p:cNvGrpSpPr/>
            <p:nvPr/>
          </p:nvGrpSpPr>
          <p:grpSpPr>
            <a:xfrm rot="5400000">
              <a:off x="16767017" y="8845707"/>
              <a:ext cx="1165467" cy="269801"/>
              <a:chOff x="3346450" y="2637355"/>
              <a:chExt cx="1481234" cy="342900"/>
            </a:xfrm>
          </p:grpSpPr>
          <p:pic>
            <p:nvPicPr>
              <p:cNvPr id="16" name="Graphic 15">
                <a:extLst>
                  <a:ext uri="{FF2B5EF4-FFF2-40B4-BE49-F238E27FC236}">
                    <a16:creationId xmlns:a16="http://schemas.microsoft.com/office/drawing/2014/main" id="{75F0C78B-56F9-DCAB-8D57-DD782768121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46450" y="2637355"/>
                <a:ext cx="342900" cy="342900"/>
              </a:xfrm>
              <a:prstGeom prst="rect">
                <a:avLst/>
              </a:prstGeom>
            </p:spPr>
          </p:pic>
          <p:pic>
            <p:nvPicPr>
              <p:cNvPr id="17" name="Graphic 16">
                <a:extLst>
                  <a:ext uri="{FF2B5EF4-FFF2-40B4-BE49-F238E27FC236}">
                    <a16:creationId xmlns:a16="http://schemas.microsoft.com/office/drawing/2014/main" id="{97826A94-A31A-D85C-5C34-E0F9ACFFBC6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915617" y="2637355"/>
                <a:ext cx="342900" cy="342900"/>
              </a:xfrm>
              <a:prstGeom prst="rect">
                <a:avLst/>
              </a:prstGeom>
            </p:spPr>
          </p:pic>
          <p:pic>
            <p:nvPicPr>
              <p:cNvPr id="18" name="Graphic 17">
                <a:extLst>
                  <a:ext uri="{FF2B5EF4-FFF2-40B4-BE49-F238E27FC236}">
                    <a16:creationId xmlns:a16="http://schemas.microsoft.com/office/drawing/2014/main" id="{70D4F9A5-607A-DD04-369E-0FAB8119FA1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84784" y="2637355"/>
                <a:ext cx="342900" cy="342900"/>
              </a:xfrm>
              <a:prstGeom prst="rect">
                <a:avLst/>
              </a:prstGeom>
            </p:spPr>
          </p:pic>
        </p:grpSp>
      </p:grpSp>
      <p:grpSp>
        <p:nvGrpSpPr>
          <p:cNvPr id="19" name="Group 18">
            <a:extLst>
              <a:ext uri="{FF2B5EF4-FFF2-40B4-BE49-F238E27FC236}">
                <a16:creationId xmlns:a16="http://schemas.microsoft.com/office/drawing/2014/main" id="{F7EB1CA7-E46E-5AA1-BA29-2FE2B6306E18}"/>
              </a:ext>
            </a:extLst>
          </p:cNvPr>
          <p:cNvGrpSpPr/>
          <p:nvPr userDrawn="1"/>
        </p:nvGrpSpPr>
        <p:grpSpPr>
          <a:xfrm>
            <a:off x="17062450" y="1158875"/>
            <a:ext cx="1444643" cy="2239273"/>
            <a:chOff x="15486784" y="1129402"/>
            <a:chExt cx="1444643" cy="2239273"/>
          </a:xfrm>
        </p:grpSpPr>
        <p:sp>
          <p:nvSpPr>
            <p:cNvPr id="20" name="Graphic 19">
              <a:extLst>
                <a:ext uri="{FF2B5EF4-FFF2-40B4-BE49-F238E27FC236}">
                  <a16:creationId xmlns:a16="http://schemas.microsoft.com/office/drawing/2014/main" id="{C448AC5F-3E10-9B5C-BE80-A092C60C2010}"/>
                </a:ext>
              </a:extLst>
            </p:cNvPr>
            <p:cNvSpPr/>
            <p:nvPr/>
          </p:nvSpPr>
          <p:spPr>
            <a:xfrm>
              <a:off x="15486784" y="1129402"/>
              <a:ext cx="1444643" cy="2239273"/>
            </a:xfrm>
            <a:custGeom>
              <a:avLst/>
              <a:gdLst>
                <a:gd name="connsiteX0" fmla="*/ 1447475 w 1447474"/>
                <a:gd name="connsiteY0" fmla="*/ 1560269 h 1560269"/>
                <a:gd name="connsiteX1" fmla="*/ 0 w 1447474"/>
                <a:gd name="connsiteY1" fmla="*/ 1560269 h 1560269"/>
                <a:gd name="connsiteX2" fmla="*/ 0 w 1447474"/>
                <a:gd name="connsiteY2" fmla="*/ 729393 h 1560269"/>
                <a:gd name="connsiteX3" fmla="*/ 723737 w 1447474"/>
                <a:gd name="connsiteY3" fmla="*/ 0 h 1560269"/>
                <a:gd name="connsiteX4" fmla="*/ 1447475 w 1447474"/>
                <a:gd name="connsiteY4" fmla="*/ 729393 h 1560269"/>
                <a:gd name="connsiteX5" fmla="*/ 1447475 w 1447474"/>
                <a:gd name="connsiteY5" fmla="*/ 1560269 h 1560269"/>
                <a:gd name="connsiteX0" fmla="*/ 1447475 w 1447475"/>
                <a:gd name="connsiteY0" fmla="*/ 2243663 h 2243663"/>
                <a:gd name="connsiteX1" fmla="*/ 0 w 1447475"/>
                <a:gd name="connsiteY1" fmla="*/ 1560269 h 2243663"/>
                <a:gd name="connsiteX2" fmla="*/ 0 w 1447475"/>
                <a:gd name="connsiteY2" fmla="*/ 729393 h 2243663"/>
                <a:gd name="connsiteX3" fmla="*/ 723737 w 1447475"/>
                <a:gd name="connsiteY3" fmla="*/ 0 h 2243663"/>
                <a:gd name="connsiteX4" fmla="*/ 1447475 w 1447475"/>
                <a:gd name="connsiteY4" fmla="*/ 729393 h 2243663"/>
                <a:gd name="connsiteX5" fmla="*/ 1447475 w 1447475"/>
                <a:gd name="connsiteY5" fmla="*/ 2243663 h 2243663"/>
                <a:gd name="connsiteX0" fmla="*/ 1447475 w 1447475"/>
                <a:gd name="connsiteY0" fmla="*/ 2243663 h 2243663"/>
                <a:gd name="connsiteX1" fmla="*/ 9625 w 1447475"/>
                <a:gd name="connsiteY1" fmla="*/ 2243662 h 2243663"/>
                <a:gd name="connsiteX2" fmla="*/ 0 w 1447475"/>
                <a:gd name="connsiteY2" fmla="*/ 729393 h 2243663"/>
                <a:gd name="connsiteX3" fmla="*/ 723737 w 1447475"/>
                <a:gd name="connsiteY3" fmla="*/ 0 h 2243663"/>
                <a:gd name="connsiteX4" fmla="*/ 1447475 w 1447475"/>
                <a:gd name="connsiteY4" fmla="*/ 729393 h 2243663"/>
                <a:gd name="connsiteX5" fmla="*/ 1447475 w 1447475"/>
                <a:gd name="connsiteY5" fmla="*/ 2243663 h 224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7475" h="2243663">
                  <a:moveTo>
                    <a:pt x="1447475" y="2243663"/>
                  </a:moveTo>
                  <a:lnTo>
                    <a:pt x="9625" y="2243662"/>
                  </a:lnTo>
                  <a:cubicBezTo>
                    <a:pt x="6417" y="1738906"/>
                    <a:pt x="3208" y="1234149"/>
                    <a:pt x="0" y="729393"/>
                  </a:cubicBezTo>
                  <a:cubicBezTo>
                    <a:pt x="0" y="326579"/>
                    <a:pt x="324047" y="0"/>
                    <a:pt x="723737" y="0"/>
                  </a:cubicBezTo>
                  <a:cubicBezTo>
                    <a:pt x="1123428" y="0"/>
                    <a:pt x="1447475" y="326579"/>
                    <a:pt x="1447475" y="729393"/>
                  </a:cubicBezTo>
                  <a:lnTo>
                    <a:pt x="1447475" y="2243663"/>
                  </a:lnTo>
                  <a:close/>
                </a:path>
              </a:pathLst>
            </a:custGeom>
            <a:solidFill>
              <a:schemeClr val="accent1"/>
            </a:solidFill>
            <a:ln w="16267" cap="flat">
              <a:noFill/>
              <a:prstDash val="solid"/>
              <a:miter/>
            </a:ln>
          </p:spPr>
          <p:txBody>
            <a:bodyPr rtlCol="0" anchor="ctr"/>
            <a:lstStyle/>
            <a:p>
              <a:pPr algn="l" rtl="0"/>
              <a:endParaRPr lang="en-AE"/>
            </a:p>
          </p:txBody>
        </p:sp>
        <p:pic>
          <p:nvPicPr>
            <p:cNvPr id="21" name="Graphic 20">
              <a:extLst>
                <a:ext uri="{FF2B5EF4-FFF2-40B4-BE49-F238E27FC236}">
                  <a16:creationId xmlns:a16="http://schemas.microsoft.com/office/drawing/2014/main" id="{4FAEC23D-4A6E-D7CA-76C1-84554B98DA8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801142">
              <a:off x="15826581" y="2144891"/>
              <a:ext cx="765048" cy="649401"/>
            </a:xfrm>
            <a:prstGeom prst="rect">
              <a:avLst/>
            </a:prstGeom>
          </p:spPr>
        </p:pic>
      </p:grpSp>
    </p:spTree>
    <p:extLst>
      <p:ext uri="{BB962C8B-B14F-4D97-AF65-F5344CB8AC3E}">
        <p14:creationId xmlns:p14="http://schemas.microsoft.com/office/powerpoint/2010/main" val="27339024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page - with image block">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4DC4EB05-D0BB-D4DF-1342-249B8254A99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8106842" y="625475"/>
            <a:ext cx="1066800" cy="1066800"/>
          </a:xfrm>
          <a:prstGeom prst="rect">
            <a:avLst/>
          </a:prstGeom>
        </p:spPr>
      </p:pic>
      <p:pic>
        <p:nvPicPr>
          <p:cNvPr id="7" name="Graphic 6">
            <a:extLst>
              <a:ext uri="{FF2B5EF4-FFF2-40B4-BE49-F238E27FC236}">
                <a16:creationId xmlns:a16="http://schemas.microsoft.com/office/drawing/2014/main" id="{3F787C54-4666-B531-EE6C-B38900EC5E3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7891" y="9921875"/>
            <a:ext cx="812800" cy="812800"/>
          </a:xfrm>
          <a:prstGeom prst="rect">
            <a:avLst/>
          </a:prstGeom>
        </p:spPr>
      </p:pic>
      <p:pic>
        <p:nvPicPr>
          <p:cNvPr id="8" name="Graphic 7">
            <a:extLst>
              <a:ext uri="{FF2B5EF4-FFF2-40B4-BE49-F238E27FC236}">
                <a16:creationId xmlns:a16="http://schemas.microsoft.com/office/drawing/2014/main" id="{9D8504C9-FAE4-91FD-2D64-65FD2F181C45}"/>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2890" y="2169332"/>
            <a:ext cx="6573517" cy="6573517"/>
          </a:xfrm>
          <a:prstGeom prst="rect">
            <a:avLst/>
          </a:prstGeom>
        </p:spPr>
      </p:pic>
      <p:pic>
        <p:nvPicPr>
          <p:cNvPr id="9" name="Graphic 8">
            <a:extLst>
              <a:ext uri="{FF2B5EF4-FFF2-40B4-BE49-F238E27FC236}">
                <a16:creationId xmlns:a16="http://schemas.microsoft.com/office/drawing/2014/main" id="{E1C41376-4BDF-BE00-4618-1AACBC53DA1B}"/>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690850" y="8117835"/>
            <a:ext cx="838200" cy="901700"/>
          </a:xfrm>
          <a:prstGeom prst="rect">
            <a:avLst/>
          </a:prstGeom>
        </p:spPr>
      </p:pic>
    </p:spTree>
    <p:extLst>
      <p:ext uri="{BB962C8B-B14F-4D97-AF65-F5344CB8AC3E}">
        <p14:creationId xmlns:p14="http://schemas.microsoft.com/office/powerpoint/2010/main" val="9761827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age breaker - style 2 turquoise">
    <p:bg>
      <p:bgPr>
        <a:solidFill>
          <a:schemeClr val="accent6"/>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CA2589EB-A858-E472-2917-CC77FB316E02}"/>
              </a:ext>
            </a:extLst>
          </p:cNvPr>
          <p:cNvGrpSpPr/>
          <p:nvPr userDrawn="1"/>
        </p:nvGrpSpPr>
        <p:grpSpPr>
          <a:xfrm>
            <a:off x="12539117" y="6587222"/>
            <a:ext cx="2363751" cy="2363751"/>
            <a:chOff x="10204450" y="6587222"/>
            <a:chExt cx="2363751" cy="2363751"/>
          </a:xfrm>
        </p:grpSpPr>
        <p:pic>
          <p:nvPicPr>
            <p:cNvPr id="11" name="Graphic 10">
              <a:extLst>
                <a:ext uri="{FF2B5EF4-FFF2-40B4-BE49-F238E27FC236}">
                  <a16:creationId xmlns:a16="http://schemas.microsoft.com/office/drawing/2014/main" id="{2E804DE9-0419-2055-79ED-9080EEB0BAA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04450" y="6587222"/>
              <a:ext cx="2363751" cy="2363751"/>
            </a:xfrm>
            <a:prstGeom prst="rect">
              <a:avLst/>
            </a:prstGeom>
          </p:spPr>
        </p:pic>
        <p:pic>
          <p:nvPicPr>
            <p:cNvPr id="12" name="Graphic 11">
              <a:extLst>
                <a:ext uri="{FF2B5EF4-FFF2-40B4-BE49-F238E27FC236}">
                  <a16:creationId xmlns:a16="http://schemas.microsoft.com/office/drawing/2014/main" id="{A179987E-CBCB-616B-E16D-049BEFB97BE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626058" y="7008830"/>
              <a:ext cx="1520535" cy="1520535"/>
            </a:xfrm>
            <a:prstGeom prst="rect">
              <a:avLst/>
            </a:prstGeom>
          </p:spPr>
        </p:pic>
      </p:grpSp>
      <p:grpSp>
        <p:nvGrpSpPr>
          <p:cNvPr id="13" name="Group 12">
            <a:extLst>
              <a:ext uri="{FF2B5EF4-FFF2-40B4-BE49-F238E27FC236}">
                <a16:creationId xmlns:a16="http://schemas.microsoft.com/office/drawing/2014/main" id="{6FE2A735-C532-EEBC-4FDB-3899380FF37F}"/>
              </a:ext>
            </a:extLst>
          </p:cNvPr>
          <p:cNvGrpSpPr/>
          <p:nvPr userDrawn="1"/>
        </p:nvGrpSpPr>
        <p:grpSpPr>
          <a:xfrm>
            <a:off x="14434038" y="7635875"/>
            <a:ext cx="1776646" cy="2619367"/>
            <a:chOff x="16277188" y="7634492"/>
            <a:chExt cx="1776646" cy="2619367"/>
          </a:xfrm>
        </p:grpSpPr>
        <p:sp>
          <p:nvSpPr>
            <p:cNvPr id="14" name="object 3">
              <a:extLst>
                <a:ext uri="{FF2B5EF4-FFF2-40B4-BE49-F238E27FC236}">
                  <a16:creationId xmlns:a16="http://schemas.microsoft.com/office/drawing/2014/main" id="{48207EDC-7DBD-4181-28A2-101FFE9C80DA}"/>
                </a:ext>
              </a:extLst>
            </p:cNvPr>
            <p:cNvSpPr/>
            <p:nvPr/>
          </p:nvSpPr>
          <p:spPr>
            <a:xfrm rot="5400000">
              <a:off x="15855827" y="8055853"/>
              <a:ext cx="2619367" cy="1776646"/>
            </a:xfrm>
            <a:custGeom>
              <a:avLst/>
              <a:gdLst>
                <a:gd name="connsiteX0" fmla="*/ 8083041 w 8083041"/>
                <a:gd name="connsiteY0" fmla="*/ 0 h 1997467"/>
                <a:gd name="connsiteX1" fmla="*/ 0 w 8083041"/>
                <a:gd name="connsiteY1" fmla="*/ 0 h 1997467"/>
                <a:gd name="connsiteX2" fmla="*/ 0 w 8083041"/>
                <a:gd name="connsiteY2" fmla="*/ 1564957 h 1997467"/>
                <a:gd name="connsiteX3" fmla="*/ 401778 w 8083041"/>
                <a:gd name="connsiteY3" fmla="*/ 1564957 h 1997467"/>
                <a:gd name="connsiteX4" fmla="*/ 656587 w 8083041"/>
                <a:gd name="connsiteY4" fmla="*/ 1997467 h 1997467"/>
                <a:gd name="connsiteX5" fmla="*/ 843084 w 8083041"/>
                <a:gd name="connsiteY5" fmla="*/ 1564957 h 1997467"/>
                <a:gd name="connsiteX6" fmla="*/ 4145523 w 8083041"/>
                <a:gd name="connsiteY6" fmla="*/ 1564957 h 1997467"/>
                <a:gd name="connsiteX7" fmla="*/ 8083041 w 8083041"/>
                <a:gd name="connsiteY7" fmla="*/ 0 h 1997467"/>
                <a:gd name="connsiteX0" fmla="*/ 4145522 w 4145523"/>
                <a:gd name="connsiteY0" fmla="*/ 0 h 1997467"/>
                <a:gd name="connsiteX1" fmla="*/ 0 w 4145523"/>
                <a:gd name="connsiteY1" fmla="*/ 0 h 1997467"/>
                <a:gd name="connsiteX2" fmla="*/ 0 w 4145523"/>
                <a:gd name="connsiteY2" fmla="*/ 1564957 h 1997467"/>
                <a:gd name="connsiteX3" fmla="*/ 401778 w 4145523"/>
                <a:gd name="connsiteY3" fmla="*/ 1564957 h 1997467"/>
                <a:gd name="connsiteX4" fmla="*/ 656587 w 4145523"/>
                <a:gd name="connsiteY4" fmla="*/ 1997467 h 1997467"/>
                <a:gd name="connsiteX5" fmla="*/ 843084 w 4145523"/>
                <a:gd name="connsiteY5" fmla="*/ 1564957 h 1997467"/>
                <a:gd name="connsiteX6" fmla="*/ 4145523 w 4145523"/>
                <a:gd name="connsiteY6" fmla="*/ 1564957 h 1997467"/>
                <a:gd name="connsiteX7" fmla="*/ 4145522 w 4145523"/>
                <a:gd name="connsiteY7" fmla="*/ 0 h 1997467"/>
                <a:gd name="connsiteX0" fmla="*/ 2943955 w 4145523"/>
                <a:gd name="connsiteY0" fmla="*/ 0 h 1997467"/>
                <a:gd name="connsiteX1" fmla="*/ 0 w 4145523"/>
                <a:gd name="connsiteY1" fmla="*/ 0 h 1997467"/>
                <a:gd name="connsiteX2" fmla="*/ 0 w 4145523"/>
                <a:gd name="connsiteY2" fmla="*/ 1564957 h 1997467"/>
                <a:gd name="connsiteX3" fmla="*/ 401778 w 4145523"/>
                <a:gd name="connsiteY3" fmla="*/ 1564957 h 1997467"/>
                <a:gd name="connsiteX4" fmla="*/ 656587 w 4145523"/>
                <a:gd name="connsiteY4" fmla="*/ 1997467 h 1997467"/>
                <a:gd name="connsiteX5" fmla="*/ 843084 w 4145523"/>
                <a:gd name="connsiteY5" fmla="*/ 1564957 h 1997467"/>
                <a:gd name="connsiteX6" fmla="*/ 4145523 w 4145523"/>
                <a:gd name="connsiteY6" fmla="*/ 1564957 h 1997467"/>
                <a:gd name="connsiteX7" fmla="*/ 2943955 w 4145523"/>
                <a:gd name="connsiteY7" fmla="*/ 0 h 1997467"/>
                <a:gd name="connsiteX0" fmla="*/ 2943955 w 2943955"/>
                <a:gd name="connsiteY0" fmla="*/ 0 h 1997467"/>
                <a:gd name="connsiteX1" fmla="*/ 0 w 2943955"/>
                <a:gd name="connsiteY1" fmla="*/ 0 h 1997467"/>
                <a:gd name="connsiteX2" fmla="*/ 0 w 2943955"/>
                <a:gd name="connsiteY2" fmla="*/ 1564957 h 1997467"/>
                <a:gd name="connsiteX3" fmla="*/ 401778 w 2943955"/>
                <a:gd name="connsiteY3" fmla="*/ 1564957 h 1997467"/>
                <a:gd name="connsiteX4" fmla="*/ 656587 w 2943955"/>
                <a:gd name="connsiteY4" fmla="*/ 1997467 h 1997467"/>
                <a:gd name="connsiteX5" fmla="*/ 843084 w 2943955"/>
                <a:gd name="connsiteY5" fmla="*/ 1564957 h 1997467"/>
                <a:gd name="connsiteX6" fmla="*/ 2928842 w 2943955"/>
                <a:gd name="connsiteY6" fmla="*/ 1564957 h 1997467"/>
                <a:gd name="connsiteX7" fmla="*/ 2943955 w 2943955"/>
                <a:gd name="connsiteY7" fmla="*/ 0 h 1997467"/>
                <a:gd name="connsiteX0" fmla="*/ 2943955 w 2943955"/>
                <a:gd name="connsiteY0" fmla="*/ 0 h 1997467"/>
                <a:gd name="connsiteX1" fmla="*/ 0 w 2943955"/>
                <a:gd name="connsiteY1" fmla="*/ 113355 h 1997467"/>
                <a:gd name="connsiteX2" fmla="*/ 0 w 2943955"/>
                <a:gd name="connsiteY2" fmla="*/ 1564957 h 1997467"/>
                <a:gd name="connsiteX3" fmla="*/ 401778 w 2943955"/>
                <a:gd name="connsiteY3" fmla="*/ 1564957 h 1997467"/>
                <a:gd name="connsiteX4" fmla="*/ 656587 w 2943955"/>
                <a:gd name="connsiteY4" fmla="*/ 1997467 h 1997467"/>
                <a:gd name="connsiteX5" fmla="*/ 843084 w 2943955"/>
                <a:gd name="connsiteY5" fmla="*/ 1564957 h 1997467"/>
                <a:gd name="connsiteX6" fmla="*/ 2928842 w 2943955"/>
                <a:gd name="connsiteY6" fmla="*/ 1564957 h 1997467"/>
                <a:gd name="connsiteX7" fmla="*/ 2943955 w 2943955"/>
                <a:gd name="connsiteY7" fmla="*/ 0 h 1997467"/>
                <a:gd name="connsiteX0" fmla="*/ 2936398 w 2936398"/>
                <a:gd name="connsiteY0" fmla="*/ 7557 h 1884112"/>
                <a:gd name="connsiteX1" fmla="*/ 0 w 2936398"/>
                <a:gd name="connsiteY1" fmla="*/ 0 h 1884112"/>
                <a:gd name="connsiteX2" fmla="*/ 0 w 2936398"/>
                <a:gd name="connsiteY2" fmla="*/ 1451602 h 1884112"/>
                <a:gd name="connsiteX3" fmla="*/ 401778 w 2936398"/>
                <a:gd name="connsiteY3" fmla="*/ 1451602 h 1884112"/>
                <a:gd name="connsiteX4" fmla="*/ 656587 w 2936398"/>
                <a:gd name="connsiteY4" fmla="*/ 1884112 h 1884112"/>
                <a:gd name="connsiteX5" fmla="*/ 843084 w 2936398"/>
                <a:gd name="connsiteY5" fmla="*/ 1451602 h 1884112"/>
                <a:gd name="connsiteX6" fmla="*/ 2928842 w 2936398"/>
                <a:gd name="connsiteY6" fmla="*/ 1451602 h 1884112"/>
                <a:gd name="connsiteX7" fmla="*/ 2936398 w 2936398"/>
                <a:gd name="connsiteY7" fmla="*/ 7557 h 1884112"/>
                <a:gd name="connsiteX0" fmla="*/ 2936401 w 2936401"/>
                <a:gd name="connsiteY0" fmla="*/ 0 h 2052111"/>
                <a:gd name="connsiteX1" fmla="*/ 0 w 2936401"/>
                <a:gd name="connsiteY1" fmla="*/ 167999 h 2052111"/>
                <a:gd name="connsiteX2" fmla="*/ 0 w 2936401"/>
                <a:gd name="connsiteY2" fmla="*/ 1619601 h 2052111"/>
                <a:gd name="connsiteX3" fmla="*/ 401778 w 2936401"/>
                <a:gd name="connsiteY3" fmla="*/ 1619601 h 2052111"/>
                <a:gd name="connsiteX4" fmla="*/ 656587 w 2936401"/>
                <a:gd name="connsiteY4" fmla="*/ 2052111 h 2052111"/>
                <a:gd name="connsiteX5" fmla="*/ 843084 w 2936401"/>
                <a:gd name="connsiteY5" fmla="*/ 1619601 h 2052111"/>
                <a:gd name="connsiteX6" fmla="*/ 2928842 w 2936401"/>
                <a:gd name="connsiteY6" fmla="*/ 1619601 h 2052111"/>
                <a:gd name="connsiteX7" fmla="*/ 2936401 w 2936401"/>
                <a:gd name="connsiteY7" fmla="*/ 0 h 2052111"/>
                <a:gd name="connsiteX0" fmla="*/ 2936401 w 2936401"/>
                <a:gd name="connsiteY0" fmla="*/ 35276 h 2087387"/>
                <a:gd name="connsiteX1" fmla="*/ 0 w 2936401"/>
                <a:gd name="connsiteY1" fmla="*/ 0 h 2087387"/>
                <a:gd name="connsiteX2" fmla="*/ 0 w 2936401"/>
                <a:gd name="connsiteY2" fmla="*/ 1654877 h 2087387"/>
                <a:gd name="connsiteX3" fmla="*/ 401778 w 2936401"/>
                <a:gd name="connsiteY3" fmla="*/ 1654877 h 2087387"/>
                <a:gd name="connsiteX4" fmla="*/ 656587 w 2936401"/>
                <a:gd name="connsiteY4" fmla="*/ 2087387 h 2087387"/>
                <a:gd name="connsiteX5" fmla="*/ 843084 w 2936401"/>
                <a:gd name="connsiteY5" fmla="*/ 1654877 h 2087387"/>
                <a:gd name="connsiteX6" fmla="*/ 2928842 w 2936401"/>
                <a:gd name="connsiteY6" fmla="*/ 1654877 h 2087387"/>
                <a:gd name="connsiteX7" fmla="*/ 2936401 w 2936401"/>
                <a:gd name="connsiteY7" fmla="*/ 35276 h 2087387"/>
                <a:gd name="connsiteX0" fmla="*/ 2936401 w 2936401"/>
                <a:gd name="connsiteY0" fmla="*/ 0 h 2052111"/>
                <a:gd name="connsiteX1" fmla="*/ 9243 w 2936401"/>
                <a:gd name="connsiteY1" fmla="*/ 1683 h 2052111"/>
                <a:gd name="connsiteX2" fmla="*/ 0 w 2936401"/>
                <a:gd name="connsiteY2" fmla="*/ 1619601 h 2052111"/>
                <a:gd name="connsiteX3" fmla="*/ 401778 w 2936401"/>
                <a:gd name="connsiteY3" fmla="*/ 1619601 h 2052111"/>
                <a:gd name="connsiteX4" fmla="*/ 656587 w 2936401"/>
                <a:gd name="connsiteY4" fmla="*/ 2052111 h 2052111"/>
                <a:gd name="connsiteX5" fmla="*/ 843084 w 2936401"/>
                <a:gd name="connsiteY5" fmla="*/ 1619601 h 2052111"/>
                <a:gd name="connsiteX6" fmla="*/ 2928842 w 2936401"/>
                <a:gd name="connsiteY6" fmla="*/ 1619601 h 2052111"/>
                <a:gd name="connsiteX7" fmla="*/ 2936401 w 2936401"/>
                <a:gd name="connsiteY7" fmla="*/ 0 h 2052111"/>
                <a:gd name="connsiteX0" fmla="*/ 2937953 w 2937953"/>
                <a:gd name="connsiteY0" fmla="*/ 0 h 2052111"/>
                <a:gd name="connsiteX1" fmla="*/ 0 w 2937953"/>
                <a:gd name="connsiteY1" fmla="*/ 7081 h 2052111"/>
                <a:gd name="connsiteX2" fmla="*/ 1552 w 2937953"/>
                <a:gd name="connsiteY2" fmla="*/ 1619601 h 2052111"/>
                <a:gd name="connsiteX3" fmla="*/ 403330 w 2937953"/>
                <a:gd name="connsiteY3" fmla="*/ 1619601 h 2052111"/>
                <a:gd name="connsiteX4" fmla="*/ 658139 w 2937953"/>
                <a:gd name="connsiteY4" fmla="*/ 2052111 h 2052111"/>
                <a:gd name="connsiteX5" fmla="*/ 844636 w 2937953"/>
                <a:gd name="connsiteY5" fmla="*/ 1619601 h 2052111"/>
                <a:gd name="connsiteX6" fmla="*/ 2930394 w 2937953"/>
                <a:gd name="connsiteY6" fmla="*/ 1619601 h 2052111"/>
                <a:gd name="connsiteX7" fmla="*/ 2937953 w 2937953"/>
                <a:gd name="connsiteY7" fmla="*/ 0 h 2052111"/>
                <a:gd name="connsiteX0" fmla="*/ 2937953 w 2937953"/>
                <a:gd name="connsiteY0" fmla="*/ 0 h 2052111"/>
                <a:gd name="connsiteX1" fmla="*/ 0 w 2937953"/>
                <a:gd name="connsiteY1" fmla="*/ 7081 h 2052111"/>
                <a:gd name="connsiteX2" fmla="*/ 1552 w 2937953"/>
                <a:gd name="connsiteY2" fmla="*/ 1619601 h 2052111"/>
                <a:gd name="connsiteX3" fmla="*/ 403330 w 2937953"/>
                <a:gd name="connsiteY3" fmla="*/ 1619601 h 2052111"/>
                <a:gd name="connsiteX4" fmla="*/ 658139 w 2937953"/>
                <a:gd name="connsiteY4" fmla="*/ 2052111 h 2052111"/>
                <a:gd name="connsiteX5" fmla="*/ 1103739 w 2937953"/>
                <a:gd name="connsiteY5" fmla="*/ 1619601 h 2052111"/>
                <a:gd name="connsiteX6" fmla="*/ 2930394 w 2937953"/>
                <a:gd name="connsiteY6" fmla="*/ 1619601 h 2052111"/>
                <a:gd name="connsiteX7" fmla="*/ 2937953 w 2937953"/>
                <a:gd name="connsiteY7" fmla="*/ 0 h 2052111"/>
                <a:gd name="connsiteX0" fmla="*/ 2937953 w 2937953"/>
                <a:gd name="connsiteY0" fmla="*/ 0 h 2052111"/>
                <a:gd name="connsiteX1" fmla="*/ 0 w 2937953"/>
                <a:gd name="connsiteY1" fmla="*/ 7081 h 2052111"/>
                <a:gd name="connsiteX2" fmla="*/ 1552 w 2937953"/>
                <a:gd name="connsiteY2" fmla="*/ 1619601 h 2052111"/>
                <a:gd name="connsiteX3" fmla="*/ 608454 w 2937953"/>
                <a:gd name="connsiteY3" fmla="*/ 1624999 h 2052111"/>
                <a:gd name="connsiteX4" fmla="*/ 658139 w 2937953"/>
                <a:gd name="connsiteY4" fmla="*/ 2052111 h 2052111"/>
                <a:gd name="connsiteX5" fmla="*/ 1103739 w 2937953"/>
                <a:gd name="connsiteY5" fmla="*/ 1619601 h 2052111"/>
                <a:gd name="connsiteX6" fmla="*/ 2930394 w 2937953"/>
                <a:gd name="connsiteY6" fmla="*/ 1619601 h 2052111"/>
                <a:gd name="connsiteX7" fmla="*/ 2937953 w 2937953"/>
                <a:gd name="connsiteY7" fmla="*/ 0 h 2052111"/>
                <a:gd name="connsiteX0" fmla="*/ 2937953 w 2937953"/>
                <a:gd name="connsiteY0" fmla="*/ 0 h 2057509"/>
                <a:gd name="connsiteX1" fmla="*/ 0 w 2937953"/>
                <a:gd name="connsiteY1" fmla="*/ 7081 h 2057509"/>
                <a:gd name="connsiteX2" fmla="*/ 1552 w 2937953"/>
                <a:gd name="connsiteY2" fmla="*/ 1619601 h 2057509"/>
                <a:gd name="connsiteX3" fmla="*/ 608454 w 2937953"/>
                <a:gd name="connsiteY3" fmla="*/ 1624999 h 2057509"/>
                <a:gd name="connsiteX4" fmla="*/ 857864 w 2937953"/>
                <a:gd name="connsiteY4" fmla="*/ 2057509 h 2057509"/>
                <a:gd name="connsiteX5" fmla="*/ 1103739 w 2937953"/>
                <a:gd name="connsiteY5" fmla="*/ 1619601 h 2057509"/>
                <a:gd name="connsiteX6" fmla="*/ 2930394 w 2937953"/>
                <a:gd name="connsiteY6" fmla="*/ 1619601 h 2057509"/>
                <a:gd name="connsiteX7" fmla="*/ 2937953 w 2937953"/>
                <a:gd name="connsiteY7" fmla="*/ 0 h 2057509"/>
                <a:gd name="connsiteX0" fmla="*/ 2937953 w 2937953"/>
                <a:gd name="connsiteY0" fmla="*/ 0 h 1992733"/>
                <a:gd name="connsiteX1" fmla="*/ 0 w 2937953"/>
                <a:gd name="connsiteY1" fmla="*/ 7081 h 1992733"/>
                <a:gd name="connsiteX2" fmla="*/ 1552 w 2937953"/>
                <a:gd name="connsiteY2" fmla="*/ 1619601 h 1992733"/>
                <a:gd name="connsiteX3" fmla="*/ 608454 w 2937953"/>
                <a:gd name="connsiteY3" fmla="*/ 1624999 h 1992733"/>
                <a:gd name="connsiteX4" fmla="*/ 863265 w 2937953"/>
                <a:gd name="connsiteY4" fmla="*/ 1992733 h 1992733"/>
                <a:gd name="connsiteX5" fmla="*/ 1103739 w 2937953"/>
                <a:gd name="connsiteY5" fmla="*/ 1619601 h 1992733"/>
                <a:gd name="connsiteX6" fmla="*/ 2930394 w 2937953"/>
                <a:gd name="connsiteY6" fmla="*/ 1619601 h 1992733"/>
                <a:gd name="connsiteX7" fmla="*/ 2937953 w 2937953"/>
                <a:gd name="connsiteY7" fmla="*/ 0 h 199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7953" h="1992733">
                  <a:moveTo>
                    <a:pt x="2937953" y="0"/>
                  </a:moveTo>
                  <a:lnTo>
                    <a:pt x="0" y="7081"/>
                  </a:lnTo>
                  <a:cubicBezTo>
                    <a:pt x="517" y="544588"/>
                    <a:pt x="1035" y="1082094"/>
                    <a:pt x="1552" y="1619601"/>
                  </a:cubicBezTo>
                  <a:lnTo>
                    <a:pt x="608454" y="1624999"/>
                  </a:lnTo>
                  <a:lnTo>
                    <a:pt x="863265" y="1992733"/>
                  </a:lnTo>
                  <a:lnTo>
                    <a:pt x="1103739" y="1619601"/>
                  </a:lnTo>
                  <a:lnTo>
                    <a:pt x="2930394" y="1619601"/>
                  </a:lnTo>
                  <a:cubicBezTo>
                    <a:pt x="2930394" y="1097949"/>
                    <a:pt x="2937953" y="521652"/>
                    <a:pt x="2937953" y="0"/>
                  </a:cubicBezTo>
                  <a:close/>
                </a:path>
              </a:pathLst>
            </a:custGeom>
            <a:solidFill>
              <a:schemeClr val="accent4"/>
            </a:solidFill>
          </p:spPr>
          <p:txBody>
            <a:bodyPr wrap="square" lIns="0" tIns="0" rIns="0" bIns="0" rtlCol="0"/>
            <a:lstStyle/>
            <a:p>
              <a:pPr algn="l" rtl="0"/>
              <a:endParaRPr>
                <a:latin typeface="Tahoma" panose="020B0604030504040204" pitchFamily="34" charset="0"/>
                <a:ea typeface="Tahoma" panose="020B0604030504040204" pitchFamily="34" charset="0"/>
                <a:cs typeface="Tahoma" panose="020B0604030504040204" pitchFamily="34" charset="0"/>
              </a:endParaRPr>
            </a:p>
          </p:txBody>
        </p:sp>
        <p:grpSp>
          <p:nvGrpSpPr>
            <p:cNvPr id="15" name="Group 14">
              <a:extLst>
                <a:ext uri="{FF2B5EF4-FFF2-40B4-BE49-F238E27FC236}">
                  <a16:creationId xmlns:a16="http://schemas.microsoft.com/office/drawing/2014/main" id="{0113AE9A-7B25-A314-BC28-83C1AD5DD7BC}"/>
                </a:ext>
              </a:extLst>
            </p:cNvPr>
            <p:cNvGrpSpPr/>
            <p:nvPr/>
          </p:nvGrpSpPr>
          <p:grpSpPr>
            <a:xfrm rot="5400000">
              <a:off x="16767017" y="8845707"/>
              <a:ext cx="1165467" cy="269801"/>
              <a:chOff x="3346450" y="2637355"/>
              <a:chExt cx="1481234" cy="342900"/>
            </a:xfrm>
          </p:grpSpPr>
          <p:pic>
            <p:nvPicPr>
              <p:cNvPr id="16" name="Graphic 15">
                <a:extLst>
                  <a:ext uri="{FF2B5EF4-FFF2-40B4-BE49-F238E27FC236}">
                    <a16:creationId xmlns:a16="http://schemas.microsoft.com/office/drawing/2014/main" id="{75F0C78B-56F9-DCAB-8D57-DD782768121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46450" y="2637355"/>
                <a:ext cx="342900" cy="342900"/>
              </a:xfrm>
              <a:prstGeom prst="rect">
                <a:avLst/>
              </a:prstGeom>
            </p:spPr>
          </p:pic>
          <p:pic>
            <p:nvPicPr>
              <p:cNvPr id="17" name="Graphic 16">
                <a:extLst>
                  <a:ext uri="{FF2B5EF4-FFF2-40B4-BE49-F238E27FC236}">
                    <a16:creationId xmlns:a16="http://schemas.microsoft.com/office/drawing/2014/main" id="{97826A94-A31A-D85C-5C34-E0F9ACFFBC6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915617" y="2637355"/>
                <a:ext cx="342900" cy="342900"/>
              </a:xfrm>
              <a:prstGeom prst="rect">
                <a:avLst/>
              </a:prstGeom>
            </p:spPr>
          </p:pic>
          <p:pic>
            <p:nvPicPr>
              <p:cNvPr id="18" name="Graphic 17">
                <a:extLst>
                  <a:ext uri="{FF2B5EF4-FFF2-40B4-BE49-F238E27FC236}">
                    <a16:creationId xmlns:a16="http://schemas.microsoft.com/office/drawing/2014/main" id="{70D4F9A5-607A-DD04-369E-0FAB8119FA1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84784" y="2637355"/>
                <a:ext cx="342900" cy="342900"/>
              </a:xfrm>
              <a:prstGeom prst="rect">
                <a:avLst/>
              </a:prstGeom>
            </p:spPr>
          </p:pic>
        </p:grpSp>
      </p:grpSp>
      <p:grpSp>
        <p:nvGrpSpPr>
          <p:cNvPr id="19" name="Group 18">
            <a:extLst>
              <a:ext uri="{FF2B5EF4-FFF2-40B4-BE49-F238E27FC236}">
                <a16:creationId xmlns:a16="http://schemas.microsoft.com/office/drawing/2014/main" id="{F7EB1CA7-E46E-5AA1-BA29-2FE2B6306E18}"/>
              </a:ext>
            </a:extLst>
          </p:cNvPr>
          <p:cNvGrpSpPr/>
          <p:nvPr userDrawn="1"/>
        </p:nvGrpSpPr>
        <p:grpSpPr>
          <a:xfrm>
            <a:off x="17062450" y="1158875"/>
            <a:ext cx="1444643" cy="2239273"/>
            <a:chOff x="15486784" y="1129402"/>
            <a:chExt cx="1444643" cy="2239273"/>
          </a:xfrm>
        </p:grpSpPr>
        <p:sp>
          <p:nvSpPr>
            <p:cNvPr id="20" name="Graphic 19">
              <a:extLst>
                <a:ext uri="{FF2B5EF4-FFF2-40B4-BE49-F238E27FC236}">
                  <a16:creationId xmlns:a16="http://schemas.microsoft.com/office/drawing/2014/main" id="{C448AC5F-3E10-9B5C-BE80-A092C60C2010}"/>
                </a:ext>
              </a:extLst>
            </p:cNvPr>
            <p:cNvSpPr/>
            <p:nvPr/>
          </p:nvSpPr>
          <p:spPr>
            <a:xfrm>
              <a:off x="15486784" y="1129402"/>
              <a:ext cx="1444643" cy="2239273"/>
            </a:xfrm>
            <a:custGeom>
              <a:avLst/>
              <a:gdLst>
                <a:gd name="connsiteX0" fmla="*/ 1447475 w 1447474"/>
                <a:gd name="connsiteY0" fmla="*/ 1560269 h 1560269"/>
                <a:gd name="connsiteX1" fmla="*/ 0 w 1447474"/>
                <a:gd name="connsiteY1" fmla="*/ 1560269 h 1560269"/>
                <a:gd name="connsiteX2" fmla="*/ 0 w 1447474"/>
                <a:gd name="connsiteY2" fmla="*/ 729393 h 1560269"/>
                <a:gd name="connsiteX3" fmla="*/ 723737 w 1447474"/>
                <a:gd name="connsiteY3" fmla="*/ 0 h 1560269"/>
                <a:gd name="connsiteX4" fmla="*/ 1447475 w 1447474"/>
                <a:gd name="connsiteY4" fmla="*/ 729393 h 1560269"/>
                <a:gd name="connsiteX5" fmla="*/ 1447475 w 1447474"/>
                <a:gd name="connsiteY5" fmla="*/ 1560269 h 1560269"/>
                <a:gd name="connsiteX0" fmla="*/ 1447475 w 1447475"/>
                <a:gd name="connsiteY0" fmla="*/ 2243663 h 2243663"/>
                <a:gd name="connsiteX1" fmla="*/ 0 w 1447475"/>
                <a:gd name="connsiteY1" fmla="*/ 1560269 h 2243663"/>
                <a:gd name="connsiteX2" fmla="*/ 0 w 1447475"/>
                <a:gd name="connsiteY2" fmla="*/ 729393 h 2243663"/>
                <a:gd name="connsiteX3" fmla="*/ 723737 w 1447475"/>
                <a:gd name="connsiteY3" fmla="*/ 0 h 2243663"/>
                <a:gd name="connsiteX4" fmla="*/ 1447475 w 1447475"/>
                <a:gd name="connsiteY4" fmla="*/ 729393 h 2243663"/>
                <a:gd name="connsiteX5" fmla="*/ 1447475 w 1447475"/>
                <a:gd name="connsiteY5" fmla="*/ 2243663 h 2243663"/>
                <a:gd name="connsiteX0" fmla="*/ 1447475 w 1447475"/>
                <a:gd name="connsiteY0" fmla="*/ 2243663 h 2243663"/>
                <a:gd name="connsiteX1" fmla="*/ 9625 w 1447475"/>
                <a:gd name="connsiteY1" fmla="*/ 2243662 h 2243663"/>
                <a:gd name="connsiteX2" fmla="*/ 0 w 1447475"/>
                <a:gd name="connsiteY2" fmla="*/ 729393 h 2243663"/>
                <a:gd name="connsiteX3" fmla="*/ 723737 w 1447475"/>
                <a:gd name="connsiteY3" fmla="*/ 0 h 2243663"/>
                <a:gd name="connsiteX4" fmla="*/ 1447475 w 1447475"/>
                <a:gd name="connsiteY4" fmla="*/ 729393 h 2243663"/>
                <a:gd name="connsiteX5" fmla="*/ 1447475 w 1447475"/>
                <a:gd name="connsiteY5" fmla="*/ 2243663 h 224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7475" h="2243663">
                  <a:moveTo>
                    <a:pt x="1447475" y="2243663"/>
                  </a:moveTo>
                  <a:lnTo>
                    <a:pt x="9625" y="2243662"/>
                  </a:lnTo>
                  <a:cubicBezTo>
                    <a:pt x="6417" y="1738906"/>
                    <a:pt x="3208" y="1234149"/>
                    <a:pt x="0" y="729393"/>
                  </a:cubicBezTo>
                  <a:cubicBezTo>
                    <a:pt x="0" y="326579"/>
                    <a:pt x="324047" y="0"/>
                    <a:pt x="723737" y="0"/>
                  </a:cubicBezTo>
                  <a:cubicBezTo>
                    <a:pt x="1123428" y="0"/>
                    <a:pt x="1447475" y="326579"/>
                    <a:pt x="1447475" y="729393"/>
                  </a:cubicBezTo>
                  <a:lnTo>
                    <a:pt x="1447475" y="2243663"/>
                  </a:lnTo>
                  <a:close/>
                </a:path>
              </a:pathLst>
            </a:custGeom>
            <a:solidFill>
              <a:schemeClr val="accent1"/>
            </a:solidFill>
            <a:ln w="16267" cap="flat">
              <a:noFill/>
              <a:prstDash val="solid"/>
              <a:miter/>
            </a:ln>
          </p:spPr>
          <p:txBody>
            <a:bodyPr rtlCol="0" anchor="ctr"/>
            <a:lstStyle/>
            <a:p>
              <a:pPr algn="l" rtl="0"/>
              <a:endParaRPr lang="en-AE"/>
            </a:p>
          </p:txBody>
        </p:sp>
        <p:pic>
          <p:nvPicPr>
            <p:cNvPr id="21" name="Graphic 20">
              <a:extLst>
                <a:ext uri="{FF2B5EF4-FFF2-40B4-BE49-F238E27FC236}">
                  <a16:creationId xmlns:a16="http://schemas.microsoft.com/office/drawing/2014/main" id="{4FAEC23D-4A6E-D7CA-76C1-84554B98DA8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801142">
              <a:off x="15826581" y="2144891"/>
              <a:ext cx="765048" cy="649401"/>
            </a:xfrm>
            <a:prstGeom prst="rect">
              <a:avLst/>
            </a:prstGeom>
          </p:spPr>
        </p:pic>
      </p:grpSp>
    </p:spTree>
    <p:extLst>
      <p:ext uri="{BB962C8B-B14F-4D97-AF65-F5344CB8AC3E}">
        <p14:creationId xmlns:p14="http://schemas.microsoft.com/office/powerpoint/2010/main" val="8581892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age breaker - style 2 green">
    <p:bg>
      <p:bgPr>
        <a:solidFill>
          <a:schemeClr val="accent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CA2589EB-A858-E472-2917-CC77FB316E02}"/>
              </a:ext>
            </a:extLst>
          </p:cNvPr>
          <p:cNvGrpSpPr/>
          <p:nvPr userDrawn="1"/>
        </p:nvGrpSpPr>
        <p:grpSpPr>
          <a:xfrm>
            <a:off x="12539117" y="6587222"/>
            <a:ext cx="2363751" cy="2363751"/>
            <a:chOff x="10204450" y="6587222"/>
            <a:chExt cx="2363751" cy="2363751"/>
          </a:xfrm>
        </p:grpSpPr>
        <p:pic>
          <p:nvPicPr>
            <p:cNvPr id="11" name="Graphic 10">
              <a:extLst>
                <a:ext uri="{FF2B5EF4-FFF2-40B4-BE49-F238E27FC236}">
                  <a16:creationId xmlns:a16="http://schemas.microsoft.com/office/drawing/2014/main" id="{2E804DE9-0419-2055-79ED-9080EEB0BAA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04450" y="6587222"/>
              <a:ext cx="2363751" cy="2363751"/>
            </a:xfrm>
            <a:prstGeom prst="rect">
              <a:avLst/>
            </a:prstGeom>
          </p:spPr>
        </p:pic>
        <p:pic>
          <p:nvPicPr>
            <p:cNvPr id="12" name="Graphic 11">
              <a:extLst>
                <a:ext uri="{FF2B5EF4-FFF2-40B4-BE49-F238E27FC236}">
                  <a16:creationId xmlns:a16="http://schemas.microsoft.com/office/drawing/2014/main" id="{A179987E-CBCB-616B-E16D-049BEFB97BE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626058" y="7008830"/>
              <a:ext cx="1520535" cy="1520535"/>
            </a:xfrm>
            <a:prstGeom prst="rect">
              <a:avLst/>
            </a:prstGeom>
          </p:spPr>
        </p:pic>
      </p:grpSp>
      <p:grpSp>
        <p:nvGrpSpPr>
          <p:cNvPr id="13" name="Group 12">
            <a:extLst>
              <a:ext uri="{FF2B5EF4-FFF2-40B4-BE49-F238E27FC236}">
                <a16:creationId xmlns:a16="http://schemas.microsoft.com/office/drawing/2014/main" id="{6FE2A735-C532-EEBC-4FDB-3899380FF37F}"/>
              </a:ext>
            </a:extLst>
          </p:cNvPr>
          <p:cNvGrpSpPr/>
          <p:nvPr userDrawn="1"/>
        </p:nvGrpSpPr>
        <p:grpSpPr>
          <a:xfrm>
            <a:off x="14434038" y="7635875"/>
            <a:ext cx="1776646" cy="2619367"/>
            <a:chOff x="16277188" y="7634492"/>
            <a:chExt cx="1776646" cy="2619367"/>
          </a:xfrm>
        </p:grpSpPr>
        <p:sp>
          <p:nvSpPr>
            <p:cNvPr id="14" name="object 3">
              <a:extLst>
                <a:ext uri="{FF2B5EF4-FFF2-40B4-BE49-F238E27FC236}">
                  <a16:creationId xmlns:a16="http://schemas.microsoft.com/office/drawing/2014/main" id="{48207EDC-7DBD-4181-28A2-101FFE9C80DA}"/>
                </a:ext>
              </a:extLst>
            </p:cNvPr>
            <p:cNvSpPr/>
            <p:nvPr/>
          </p:nvSpPr>
          <p:spPr>
            <a:xfrm rot="5400000">
              <a:off x="15855827" y="8055853"/>
              <a:ext cx="2619367" cy="1776646"/>
            </a:xfrm>
            <a:custGeom>
              <a:avLst/>
              <a:gdLst>
                <a:gd name="connsiteX0" fmla="*/ 8083041 w 8083041"/>
                <a:gd name="connsiteY0" fmla="*/ 0 h 1997467"/>
                <a:gd name="connsiteX1" fmla="*/ 0 w 8083041"/>
                <a:gd name="connsiteY1" fmla="*/ 0 h 1997467"/>
                <a:gd name="connsiteX2" fmla="*/ 0 w 8083041"/>
                <a:gd name="connsiteY2" fmla="*/ 1564957 h 1997467"/>
                <a:gd name="connsiteX3" fmla="*/ 401778 w 8083041"/>
                <a:gd name="connsiteY3" fmla="*/ 1564957 h 1997467"/>
                <a:gd name="connsiteX4" fmla="*/ 656587 w 8083041"/>
                <a:gd name="connsiteY4" fmla="*/ 1997467 h 1997467"/>
                <a:gd name="connsiteX5" fmla="*/ 843084 w 8083041"/>
                <a:gd name="connsiteY5" fmla="*/ 1564957 h 1997467"/>
                <a:gd name="connsiteX6" fmla="*/ 4145523 w 8083041"/>
                <a:gd name="connsiteY6" fmla="*/ 1564957 h 1997467"/>
                <a:gd name="connsiteX7" fmla="*/ 8083041 w 8083041"/>
                <a:gd name="connsiteY7" fmla="*/ 0 h 1997467"/>
                <a:gd name="connsiteX0" fmla="*/ 4145522 w 4145523"/>
                <a:gd name="connsiteY0" fmla="*/ 0 h 1997467"/>
                <a:gd name="connsiteX1" fmla="*/ 0 w 4145523"/>
                <a:gd name="connsiteY1" fmla="*/ 0 h 1997467"/>
                <a:gd name="connsiteX2" fmla="*/ 0 w 4145523"/>
                <a:gd name="connsiteY2" fmla="*/ 1564957 h 1997467"/>
                <a:gd name="connsiteX3" fmla="*/ 401778 w 4145523"/>
                <a:gd name="connsiteY3" fmla="*/ 1564957 h 1997467"/>
                <a:gd name="connsiteX4" fmla="*/ 656587 w 4145523"/>
                <a:gd name="connsiteY4" fmla="*/ 1997467 h 1997467"/>
                <a:gd name="connsiteX5" fmla="*/ 843084 w 4145523"/>
                <a:gd name="connsiteY5" fmla="*/ 1564957 h 1997467"/>
                <a:gd name="connsiteX6" fmla="*/ 4145523 w 4145523"/>
                <a:gd name="connsiteY6" fmla="*/ 1564957 h 1997467"/>
                <a:gd name="connsiteX7" fmla="*/ 4145522 w 4145523"/>
                <a:gd name="connsiteY7" fmla="*/ 0 h 1997467"/>
                <a:gd name="connsiteX0" fmla="*/ 2943955 w 4145523"/>
                <a:gd name="connsiteY0" fmla="*/ 0 h 1997467"/>
                <a:gd name="connsiteX1" fmla="*/ 0 w 4145523"/>
                <a:gd name="connsiteY1" fmla="*/ 0 h 1997467"/>
                <a:gd name="connsiteX2" fmla="*/ 0 w 4145523"/>
                <a:gd name="connsiteY2" fmla="*/ 1564957 h 1997467"/>
                <a:gd name="connsiteX3" fmla="*/ 401778 w 4145523"/>
                <a:gd name="connsiteY3" fmla="*/ 1564957 h 1997467"/>
                <a:gd name="connsiteX4" fmla="*/ 656587 w 4145523"/>
                <a:gd name="connsiteY4" fmla="*/ 1997467 h 1997467"/>
                <a:gd name="connsiteX5" fmla="*/ 843084 w 4145523"/>
                <a:gd name="connsiteY5" fmla="*/ 1564957 h 1997467"/>
                <a:gd name="connsiteX6" fmla="*/ 4145523 w 4145523"/>
                <a:gd name="connsiteY6" fmla="*/ 1564957 h 1997467"/>
                <a:gd name="connsiteX7" fmla="*/ 2943955 w 4145523"/>
                <a:gd name="connsiteY7" fmla="*/ 0 h 1997467"/>
                <a:gd name="connsiteX0" fmla="*/ 2943955 w 2943955"/>
                <a:gd name="connsiteY0" fmla="*/ 0 h 1997467"/>
                <a:gd name="connsiteX1" fmla="*/ 0 w 2943955"/>
                <a:gd name="connsiteY1" fmla="*/ 0 h 1997467"/>
                <a:gd name="connsiteX2" fmla="*/ 0 w 2943955"/>
                <a:gd name="connsiteY2" fmla="*/ 1564957 h 1997467"/>
                <a:gd name="connsiteX3" fmla="*/ 401778 w 2943955"/>
                <a:gd name="connsiteY3" fmla="*/ 1564957 h 1997467"/>
                <a:gd name="connsiteX4" fmla="*/ 656587 w 2943955"/>
                <a:gd name="connsiteY4" fmla="*/ 1997467 h 1997467"/>
                <a:gd name="connsiteX5" fmla="*/ 843084 w 2943955"/>
                <a:gd name="connsiteY5" fmla="*/ 1564957 h 1997467"/>
                <a:gd name="connsiteX6" fmla="*/ 2928842 w 2943955"/>
                <a:gd name="connsiteY6" fmla="*/ 1564957 h 1997467"/>
                <a:gd name="connsiteX7" fmla="*/ 2943955 w 2943955"/>
                <a:gd name="connsiteY7" fmla="*/ 0 h 1997467"/>
                <a:gd name="connsiteX0" fmla="*/ 2943955 w 2943955"/>
                <a:gd name="connsiteY0" fmla="*/ 0 h 1997467"/>
                <a:gd name="connsiteX1" fmla="*/ 0 w 2943955"/>
                <a:gd name="connsiteY1" fmla="*/ 113355 h 1997467"/>
                <a:gd name="connsiteX2" fmla="*/ 0 w 2943955"/>
                <a:gd name="connsiteY2" fmla="*/ 1564957 h 1997467"/>
                <a:gd name="connsiteX3" fmla="*/ 401778 w 2943955"/>
                <a:gd name="connsiteY3" fmla="*/ 1564957 h 1997467"/>
                <a:gd name="connsiteX4" fmla="*/ 656587 w 2943955"/>
                <a:gd name="connsiteY4" fmla="*/ 1997467 h 1997467"/>
                <a:gd name="connsiteX5" fmla="*/ 843084 w 2943955"/>
                <a:gd name="connsiteY5" fmla="*/ 1564957 h 1997467"/>
                <a:gd name="connsiteX6" fmla="*/ 2928842 w 2943955"/>
                <a:gd name="connsiteY6" fmla="*/ 1564957 h 1997467"/>
                <a:gd name="connsiteX7" fmla="*/ 2943955 w 2943955"/>
                <a:gd name="connsiteY7" fmla="*/ 0 h 1997467"/>
                <a:gd name="connsiteX0" fmla="*/ 2936398 w 2936398"/>
                <a:gd name="connsiteY0" fmla="*/ 7557 h 1884112"/>
                <a:gd name="connsiteX1" fmla="*/ 0 w 2936398"/>
                <a:gd name="connsiteY1" fmla="*/ 0 h 1884112"/>
                <a:gd name="connsiteX2" fmla="*/ 0 w 2936398"/>
                <a:gd name="connsiteY2" fmla="*/ 1451602 h 1884112"/>
                <a:gd name="connsiteX3" fmla="*/ 401778 w 2936398"/>
                <a:gd name="connsiteY3" fmla="*/ 1451602 h 1884112"/>
                <a:gd name="connsiteX4" fmla="*/ 656587 w 2936398"/>
                <a:gd name="connsiteY4" fmla="*/ 1884112 h 1884112"/>
                <a:gd name="connsiteX5" fmla="*/ 843084 w 2936398"/>
                <a:gd name="connsiteY5" fmla="*/ 1451602 h 1884112"/>
                <a:gd name="connsiteX6" fmla="*/ 2928842 w 2936398"/>
                <a:gd name="connsiteY6" fmla="*/ 1451602 h 1884112"/>
                <a:gd name="connsiteX7" fmla="*/ 2936398 w 2936398"/>
                <a:gd name="connsiteY7" fmla="*/ 7557 h 1884112"/>
                <a:gd name="connsiteX0" fmla="*/ 2936401 w 2936401"/>
                <a:gd name="connsiteY0" fmla="*/ 0 h 2052111"/>
                <a:gd name="connsiteX1" fmla="*/ 0 w 2936401"/>
                <a:gd name="connsiteY1" fmla="*/ 167999 h 2052111"/>
                <a:gd name="connsiteX2" fmla="*/ 0 w 2936401"/>
                <a:gd name="connsiteY2" fmla="*/ 1619601 h 2052111"/>
                <a:gd name="connsiteX3" fmla="*/ 401778 w 2936401"/>
                <a:gd name="connsiteY3" fmla="*/ 1619601 h 2052111"/>
                <a:gd name="connsiteX4" fmla="*/ 656587 w 2936401"/>
                <a:gd name="connsiteY4" fmla="*/ 2052111 h 2052111"/>
                <a:gd name="connsiteX5" fmla="*/ 843084 w 2936401"/>
                <a:gd name="connsiteY5" fmla="*/ 1619601 h 2052111"/>
                <a:gd name="connsiteX6" fmla="*/ 2928842 w 2936401"/>
                <a:gd name="connsiteY6" fmla="*/ 1619601 h 2052111"/>
                <a:gd name="connsiteX7" fmla="*/ 2936401 w 2936401"/>
                <a:gd name="connsiteY7" fmla="*/ 0 h 2052111"/>
                <a:gd name="connsiteX0" fmla="*/ 2936401 w 2936401"/>
                <a:gd name="connsiteY0" fmla="*/ 35276 h 2087387"/>
                <a:gd name="connsiteX1" fmla="*/ 0 w 2936401"/>
                <a:gd name="connsiteY1" fmla="*/ 0 h 2087387"/>
                <a:gd name="connsiteX2" fmla="*/ 0 w 2936401"/>
                <a:gd name="connsiteY2" fmla="*/ 1654877 h 2087387"/>
                <a:gd name="connsiteX3" fmla="*/ 401778 w 2936401"/>
                <a:gd name="connsiteY3" fmla="*/ 1654877 h 2087387"/>
                <a:gd name="connsiteX4" fmla="*/ 656587 w 2936401"/>
                <a:gd name="connsiteY4" fmla="*/ 2087387 h 2087387"/>
                <a:gd name="connsiteX5" fmla="*/ 843084 w 2936401"/>
                <a:gd name="connsiteY5" fmla="*/ 1654877 h 2087387"/>
                <a:gd name="connsiteX6" fmla="*/ 2928842 w 2936401"/>
                <a:gd name="connsiteY6" fmla="*/ 1654877 h 2087387"/>
                <a:gd name="connsiteX7" fmla="*/ 2936401 w 2936401"/>
                <a:gd name="connsiteY7" fmla="*/ 35276 h 2087387"/>
                <a:gd name="connsiteX0" fmla="*/ 2936401 w 2936401"/>
                <a:gd name="connsiteY0" fmla="*/ 0 h 2052111"/>
                <a:gd name="connsiteX1" fmla="*/ 9243 w 2936401"/>
                <a:gd name="connsiteY1" fmla="*/ 1683 h 2052111"/>
                <a:gd name="connsiteX2" fmla="*/ 0 w 2936401"/>
                <a:gd name="connsiteY2" fmla="*/ 1619601 h 2052111"/>
                <a:gd name="connsiteX3" fmla="*/ 401778 w 2936401"/>
                <a:gd name="connsiteY3" fmla="*/ 1619601 h 2052111"/>
                <a:gd name="connsiteX4" fmla="*/ 656587 w 2936401"/>
                <a:gd name="connsiteY4" fmla="*/ 2052111 h 2052111"/>
                <a:gd name="connsiteX5" fmla="*/ 843084 w 2936401"/>
                <a:gd name="connsiteY5" fmla="*/ 1619601 h 2052111"/>
                <a:gd name="connsiteX6" fmla="*/ 2928842 w 2936401"/>
                <a:gd name="connsiteY6" fmla="*/ 1619601 h 2052111"/>
                <a:gd name="connsiteX7" fmla="*/ 2936401 w 2936401"/>
                <a:gd name="connsiteY7" fmla="*/ 0 h 2052111"/>
                <a:gd name="connsiteX0" fmla="*/ 2937953 w 2937953"/>
                <a:gd name="connsiteY0" fmla="*/ 0 h 2052111"/>
                <a:gd name="connsiteX1" fmla="*/ 0 w 2937953"/>
                <a:gd name="connsiteY1" fmla="*/ 7081 h 2052111"/>
                <a:gd name="connsiteX2" fmla="*/ 1552 w 2937953"/>
                <a:gd name="connsiteY2" fmla="*/ 1619601 h 2052111"/>
                <a:gd name="connsiteX3" fmla="*/ 403330 w 2937953"/>
                <a:gd name="connsiteY3" fmla="*/ 1619601 h 2052111"/>
                <a:gd name="connsiteX4" fmla="*/ 658139 w 2937953"/>
                <a:gd name="connsiteY4" fmla="*/ 2052111 h 2052111"/>
                <a:gd name="connsiteX5" fmla="*/ 844636 w 2937953"/>
                <a:gd name="connsiteY5" fmla="*/ 1619601 h 2052111"/>
                <a:gd name="connsiteX6" fmla="*/ 2930394 w 2937953"/>
                <a:gd name="connsiteY6" fmla="*/ 1619601 h 2052111"/>
                <a:gd name="connsiteX7" fmla="*/ 2937953 w 2937953"/>
                <a:gd name="connsiteY7" fmla="*/ 0 h 2052111"/>
                <a:gd name="connsiteX0" fmla="*/ 2937953 w 2937953"/>
                <a:gd name="connsiteY0" fmla="*/ 0 h 2052111"/>
                <a:gd name="connsiteX1" fmla="*/ 0 w 2937953"/>
                <a:gd name="connsiteY1" fmla="*/ 7081 h 2052111"/>
                <a:gd name="connsiteX2" fmla="*/ 1552 w 2937953"/>
                <a:gd name="connsiteY2" fmla="*/ 1619601 h 2052111"/>
                <a:gd name="connsiteX3" fmla="*/ 403330 w 2937953"/>
                <a:gd name="connsiteY3" fmla="*/ 1619601 h 2052111"/>
                <a:gd name="connsiteX4" fmla="*/ 658139 w 2937953"/>
                <a:gd name="connsiteY4" fmla="*/ 2052111 h 2052111"/>
                <a:gd name="connsiteX5" fmla="*/ 1103739 w 2937953"/>
                <a:gd name="connsiteY5" fmla="*/ 1619601 h 2052111"/>
                <a:gd name="connsiteX6" fmla="*/ 2930394 w 2937953"/>
                <a:gd name="connsiteY6" fmla="*/ 1619601 h 2052111"/>
                <a:gd name="connsiteX7" fmla="*/ 2937953 w 2937953"/>
                <a:gd name="connsiteY7" fmla="*/ 0 h 2052111"/>
                <a:gd name="connsiteX0" fmla="*/ 2937953 w 2937953"/>
                <a:gd name="connsiteY0" fmla="*/ 0 h 2052111"/>
                <a:gd name="connsiteX1" fmla="*/ 0 w 2937953"/>
                <a:gd name="connsiteY1" fmla="*/ 7081 h 2052111"/>
                <a:gd name="connsiteX2" fmla="*/ 1552 w 2937953"/>
                <a:gd name="connsiteY2" fmla="*/ 1619601 h 2052111"/>
                <a:gd name="connsiteX3" fmla="*/ 608454 w 2937953"/>
                <a:gd name="connsiteY3" fmla="*/ 1624999 h 2052111"/>
                <a:gd name="connsiteX4" fmla="*/ 658139 w 2937953"/>
                <a:gd name="connsiteY4" fmla="*/ 2052111 h 2052111"/>
                <a:gd name="connsiteX5" fmla="*/ 1103739 w 2937953"/>
                <a:gd name="connsiteY5" fmla="*/ 1619601 h 2052111"/>
                <a:gd name="connsiteX6" fmla="*/ 2930394 w 2937953"/>
                <a:gd name="connsiteY6" fmla="*/ 1619601 h 2052111"/>
                <a:gd name="connsiteX7" fmla="*/ 2937953 w 2937953"/>
                <a:gd name="connsiteY7" fmla="*/ 0 h 2052111"/>
                <a:gd name="connsiteX0" fmla="*/ 2937953 w 2937953"/>
                <a:gd name="connsiteY0" fmla="*/ 0 h 2057509"/>
                <a:gd name="connsiteX1" fmla="*/ 0 w 2937953"/>
                <a:gd name="connsiteY1" fmla="*/ 7081 h 2057509"/>
                <a:gd name="connsiteX2" fmla="*/ 1552 w 2937953"/>
                <a:gd name="connsiteY2" fmla="*/ 1619601 h 2057509"/>
                <a:gd name="connsiteX3" fmla="*/ 608454 w 2937953"/>
                <a:gd name="connsiteY3" fmla="*/ 1624999 h 2057509"/>
                <a:gd name="connsiteX4" fmla="*/ 857864 w 2937953"/>
                <a:gd name="connsiteY4" fmla="*/ 2057509 h 2057509"/>
                <a:gd name="connsiteX5" fmla="*/ 1103739 w 2937953"/>
                <a:gd name="connsiteY5" fmla="*/ 1619601 h 2057509"/>
                <a:gd name="connsiteX6" fmla="*/ 2930394 w 2937953"/>
                <a:gd name="connsiteY6" fmla="*/ 1619601 h 2057509"/>
                <a:gd name="connsiteX7" fmla="*/ 2937953 w 2937953"/>
                <a:gd name="connsiteY7" fmla="*/ 0 h 2057509"/>
                <a:gd name="connsiteX0" fmla="*/ 2937953 w 2937953"/>
                <a:gd name="connsiteY0" fmla="*/ 0 h 1992733"/>
                <a:gd name="connsiteX1" fmla="*/ 0 w 2937953"/>
                <a:gd name="connsiteY1" fmla="*/ 7081 h 1992733"/>
                <a:gd name="connsiteX2" fmla="*/ 1552 w 2937953"/>
                <a:gd name="connsiteY2" fmla="*/ 1619601 h 1992733"/>
                <a:gd name="connsiteX3" fmla="*/ 608454 w 2937953"/>
                <a:gd name="connsiteY3" fmla="*/ 1624999 h 1992733"/>
                <a:gd name="connsiteX4" fmla="*/ 863265 w 2937953"/>
                <a:gd name="connsiteY4" fmla="*/ 1992733 h 1992733"/>
                <a:gd name="connsiteX5" fmla="*/ 1103739 w 2937953"/>
                <a:gd name="connsiteY5" fmla="*/ 1619601 h 1992733"/>
                <a:gd name="connsiteX6" fmla="*/ 2930394 w 2937953"/>
                <a:gd name="connsiteY6" fmla="*/ 1619601 h 1992733"/>
                <a:gd name="connsiteX7" fmla="*/ 2937953 w 2937953"/>
                <a:gd name="connsiteY7" fmla="*/ 0 h 199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7953" h="1992733">
                  <a:moveTo>
                    <a:pt x="2937953" y="0"/>
                  </a:moveTo>
                  <a:lnTo>
                    <a:pt x="0" y="7081"/>
                  </a:lnTo>
                  <a:cubicBezTo>
                    <a:pt x="517" y="544588"/>
                    <a:pt x="1035" y="1082094"/>
                    <a:pt x="1552" y="1619601"/>
                  </a:cubicBezTo>
                  <a:lnTo>
                    <a:pt x="608454" y="1624999"/>
                  </a:lnTo>
                  <a:lnTo>
                    <a:pt x="863265" y="1992733"/>
                  </a:lnTo>
                  <a:lnTo>
                    <a:pt x="1103739" y="1619601"/>
                  </a:lnTo>
                  <a:lnTo>
                    <a:pt x="2930394" y="1619601"/>
                  </a:lnTo>
                  <a:cubicBezTo>
                    <a:pt x="2930394" y="1097949"/>
                    <a:pt x="2937953" y="521652"/>
                    <a:pt x="2937953" y="0"/>
                  </a:cubicBezTo>
                  <a:close/>
                </a:path>
              </a:pathLst>
            </a:custGeom>
            <a:solidFill>
              <a:schemeClr val="accent4"/>
            </a:solidFill>
          </p:spPr>
          <p:txBody>
            <a:bodyPr wrap="square" lIns="0" tIns="0" rIns="0" bIns="0" rtlCol="0"/>
            <a:lstStyle/>
            <a:p>
              <a:pPr algn="l" rtl="0"/>
              <a:endParaRPr>
                <a:latin typeface="Tahoma" panose="020B0604030504040204" pitchFamily="34" charset="0"/>
                <a:ea typeface="Tahoma" panose="020B0604030504040204" pitchFamily="34" charset="0"/>
                <a:cs typeface="Tahoma" panose="020B0604030504040204" pitchFamily="34" charset="0"/>
              </a:endParaRPr>
            </a:p>
          </p:txBody>
        </p:sp>
        <p:grpSp>
          <p:nvGrpSpPr>
            <p:cNvPr id="15" name="Group 14">
              <a:extLst>
                <a:ext uri="{FF2B5EF4-FFF2-40B4-BE49-F238E27FC236}">
                  <a16:creationId xmlns:a16="http://schemas.microsoft.com/office/drawing/2014/main" id="{0113AE9A-7B25-A314-BC28-83C1AD5DD7BC}"/>
                </a:ext>
              </a:extLst>
            </p:cNvPr>
            <p:cNvGrpSpPr/>
            <p:nvPr/>
          </p:nvGrpSpPr>
          <p:grpSpPr>
            <a:xfrm rot="5400000">
              <a:off x="16767017" y="8845707"/>
              <a:ext cx="1165467" cy="269801"/>
              <a:chOff x="3346450" y="2637355"/>
              <a:chExt cx="1481234" cy="342900"/>
            </a:xfrm>
          </p:grpSpPr>
          <p:pic>
            <p:nvPicPr>
              <p:cNvPr id="16" name="Graphic 15">
                <a:extLst>
                  <a:ext uri="{FF2B5EF4-FFF2-40B4-BE49-F238E27FC236}">
                    <a16:creationId xmlns:a16="http://schemas.microsoft.com/office/drawing/2014/main" id="{75F0C78B-56F9-DCAB-8D57-DD782768121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46450" y="2637355"/>
                <a:ext cx="342900" cy="342900"/>
              </a:xfrm>
              <a:prstGeom prst="rect">
                <a:avLst/>
              </a:prstGeom>
            </p:spPr>
          </p:pic>
          <p:pic>
            <p:nvPicPr>
              <p:cNvPr id="17" name="Graphic 16">
                <a:extLst>
                  <a:ext uri="{FF2B5EF4-FFF2-40B4-BE49-F238E27FC236}">
                    <a16:creationId xmlns:a16="http://schemas.microsoft.com/office/drawing/2014/main" id="{97826A94-A31A-D85C-5C34-E0F9ACFFBC6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915617" y="2637355"/>
                <a:ext cx="342900" cy="342900"/>
              </a:xfrm>
              <a:prstGeom prst="rect">
                <a:avLst/>
              </a:prstGeom>
            </p:spPr>
          </p:pic>
          <p:pic>
            <p:nvPicPr>
              <p:cNvPr id="18" name="Graphic 17">
                <a:extLst>
                  <a:ext uri="{FF2B5EF4-FFF2-40B4-BE49-F238E27FC236}">
                    <a16:creationId xmlns:a16="http://schemas.microsoft.com/office/drawing/2014/main" id="{70D4F9A5-607A-DD04-369E-0FAB8119FA1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84784" y="2637355"/>
                <a:ext cx="342900" cy="342900"/>
              </a:xfrm>
              <a:prstGeom prst="rect">
                <a:avLst/>
              </a:prstGeom>
            </p:spPr>
          </p:pic>
        </p:grpSp>
      </p:grpSp>
      <p:grpSp>
        <p:nvGrpSpPr>
          <p:cNvPr id="19" name="Group 18">
            <a:extLst>
              <a:ext uri="{FF2B5EF4-FFF2-40B4-BE49-F238E27FC236}">
                <a16:creationId xmlns:a16="http://schemas.microsoft.com/office/drawing/2014/main" id="{F7EB1CA7-E46E-5AA1-BA29-2FE2B6306E18}"/>
              </a:ext>
            </a:extLst>
          </p:cNvPr>
          <p:cNvGrpSpPr/>
          <p:nvPr userDrawn="1"/>
        </p:nvGrpSpPr>
        <p:grpSpPr>
          <a:xfrm>
            <a:off x="17062450" y="1158875"/>
            <a:ext cx="1444643" cy="2239273"/>
            <a:chOff x="15486784" y="1129402"/>
            <a:chExt cx="1444643" cy="2239273"/>
          </a:xfrm>
        </p:grpSpPr>
        <p:sp>
          <p:nvSpPr>
            <p:cNvPr id="20" name="Graphic 19">
              <a:extLst>
                <a:ext uri="{FF2B5EF4-FFF2-40B4-BE49-F238E27FC236}">
                  <a16:creationId xmlns:a16="http://schemas.microsoft.com/office/drawing/2014/main" id="{C448AC5F-3E10-9B5C-BE80-A092C60C2010}"/>
                </a:ext>
              </a:extLst>
            </p:cNvPr>
            <p:cNvSpPr/>
            <p:nvPr/>
          </p:nvSpPr>
          <p:spPr>
            <a:xfrm>
              <a:off x="15486784" y="1129402"/>
              <a:ext cx="1444643" cy="2239273"/>
            </a:xfrm>
            <a:custGeom>
              <a:avLst/>
              <a:gdLst>
                <a:gd name="connsiteX0" fmla="*/ 1447475 w 1447474"/>
                <a:gd name="connsiteY0" fmla="*/ 1560269 h 1560269"/>
                <a:gd name="connsiteX1" fmla="*/ 0 w 1447474"/>
                <a:gd name="connsiteY1" fmla="*/ 1560269 h 1560269"/>
                <a:gd name="connsiteX2" fmla="*/ 0 w 1447474"/>
                <a:gd name="connsiteY2" fmla="*/ 729393 h 1560269"/>
                <a:gd name="connsiteX3" fmla="*/ 723737 w 1447474"/>
                <a:gd name="connsiteY3" fmla="*/ 0 h 1560269"/>
                <a:gd name="connsiteX4" fmla="*/ 1447475 w 1447474"/>
                <a:gd name="connsiteY4" fmla="*/ 729393 h 1560269"/>
                <a:gd name="connsiteX5" fmla="*/ 1447475 w 1447474"/>
                <a:gd name="connsiteY5" fmla="*/ 1560269 h 1560269"/>
                <a:gd name="connsiteX0" fmla="*/ 1447475 w 1447475"/>
                <a:gd name="connsiteY0" fmla="*/ 2243663 h 2243663"/>
                <a:gd name="connsiteX1" fmla="*/ 0 w 1447475"/>
                <a:gd name="connsiteY1" fmla="*/ 1560269 h 2243663"/>
                <a:gd name="connsiteX2" fmla="*/ 0 w 1447475"/>
                <a:gd name="connsiteY2" fmla="*/ 729393 h 2243663"/>
                <a:gd name="connsiteX3" fmla="*/ 723737 w 1447475"/>
                <a:gd name="connsiteY3" fmla="*/ 0 h 2243663"/>
                <a:gd name="connsiteX4" fmla="*/ 1447475 w 1447475"/>
                <a:gd name="connsiteY4" fmla="*/ 729393 h 2243663"/>
                <a:gd name="connsiteX5" fmla="*/ 1447475 w 1447475"/>
                <a:gd name="connsiteY5" fmla="*/ 2243663 h 2243663"/>
                <a:gd name="connsiteX0" fmla="*/ 1447475 w 1447475"/>
                <a:gd name="connsiteY0" fmla="*/ 2243663 h 2243663"/>
                <a:gd name="connsiteX1" fmla="*/ 9625 w 1447475"/>
                <a:gd name="connsiteY1" fmla="*/ 2243662 h 2243663"/>
                <a:gd name="connsiteX2" fmla="*/ 0 w 1447475"/>
                <a:gd name="connsiteY2" fmla="*/ 729393 h 2243663"/>
                <a:gd name="connsiteX3" fmla="*/ 723737 w 1447475"/>
                <a:gd name="connsiteY3" fmla="*/ 0 h 2243663"/>
                <a:gd name="connsiteX4" fmla="*/ 1447475 w 1447475"/>
                <a:gd name="connsiteY4" fmla="*/ 729393 h 2243663"/>
                <a:gd name="connsiteX5" fmla="*/ 1447475 w 1447475"/>
                <a:gd name="connsiteY5" fmla="*/ 2243663 h 224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7475" h="2243663">
                  <a:moveTo>
                    <a:pt x="1447475" y="2243663"/>
                  </a:moveTo>
                  <a:lnTo>
                    <a:pt x="9625" y="2243662"/>
                  </a:lnTo>
                  <a:cubicBezTo>
                    <a:pt x="6417" y="1738906"/>
                    <a:pt x="3208" y="1234149"/>
                    <a:pt x="0" y="729393"/>
                  </a:cubicBezTo>
                  <a:cubicBezTo>
                    <a:pt x="0" y="326579"/>
                    <a:pt x="324047" y="0"/>
                    <a:pt x="723737" y="0"/>
                  </a:cubicBezTo>
                  <a:cubicBezTo>
                    <a:pt x="1123428" y="0"/>
                    <a:pt x="1447475" y="326579"/>
                    <a:pt x="1447475" y="729393"/>
                  </a:cubicBezTo>
                  <a:lnTo>
                    <a:pt x="1447475" y="2243663"/>
                  </a:lnTo>
                  <a:close/>
                </a:path>
              </a:pathLst>
            </a:custGeom>
            <a:solidFill>
              <a:schemeClr val="accent1"/>
            </a:solidFill>
            <a:ln w="16267" cap="flat">
              <a:noFill/>
              <a:prstDash val="solid"/>
              <a:miter/>
            </a:ln>
          </p:spPr>
          <p:txBody>
            <a:bodyPr rtlCol="0" anchor="ctr"/>
            <a:lstStyle/>
            <a:p>
              <a:pPr algn="l" rtl="0"/>
              <a:endParaRPr lang="en-AE"/>
            </a:p>
          </p:txBody>
        </p:sp>
        <p:pic>
          <p:nvPicPr>
            <p:cNvPr id="21" name="Graphic 20">
              <a:extLst>
                <a:ext uri="{FF2B5EF4-FFF2-40B4-BE49-F238E27FC236}">
                  <a16:creationId xmlns:a16="http://schemas.microsoft.com/office/drawing/2014/main" id="{4FAEC23D-4A6E-D7CA-76C1-84554B98DA8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801142">
              <a:off x="15826581" y="2144891"/>
              <a:ext cx="765048" cy="649401"/>
            </a:xfrm>
            <a:prstGeom prst="rect">
              <a:avLst/>
            </a:prstGeom>
          </p:spPr>
        </p:pic>
      </p:grpSp>
    </p:spTree>
    <p:extLst>
      <p:ext uri="{BB962C8B-B14F-4D97-AF65-F5344CB8AC3E}">
        <p14:creationId xmlns:p14="http://schemas.microsoft.com/office/powerpoint/2010/main" val="11087146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age breaker - style 2 orange">
    <p:bg>
      <p:bgPr>
        <a:solidFill>
          <a:schemeClr val="tx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CA2589EB-A858-E472-2917-CC77FB316E02}"/>
              </a:ext>
            </a:extLst>
          </p:cNvPr>
          <p:cNvGrpSpPr/>
          <p:nvPr userDrawn="1"/>
        </p:nvGrpSpPr>
        <p:grpSpPr>
          <a:xfrm>
            <a:off x="12539117" y="6587222"/>
            <a:ext cx="2363751" cy="2363751"/>
            <a:chOff x="10204450" y="6587222"/>
            <a:chExt cx="2363751" cy="2363751"/>
          </a:xfrm>
        </p:grpSpPr>
        <p:pic>
          <p:nvPicPr>
            <p:cNvPr id="11" name="Graphic 10">
              <a:extLst>
                <a:ext uri="{FF2B5EF4-FFF2-40B4-BE49-F238E27FC236}">
                  <a16:creationId xmlns:a16="http://schemas.microsoft.com/office/drawing/2014/main" id="{2E804DE9-0419-2055-79ED-9080EEB0BAA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04450" y="6587222"/>
              <a:ext cx="2363751" cy="2363751"/>
            </a:xfrm>
            <a:prstGeom prst="rect">
              <a:avLst/>
            </a:prstGeom>
          </p:spPr>
        </p:pic>
        <p:pic>
          <p:nvPicPr>
            <p:cNvPr id="12" name="Graphic 11">
              <a:extLst>
                <a:ext uri="{FF2B5EF4-FFF2-40B4-BE49-F238E27FC236}">
                  <a16:creationId xmlns:a16="http://schemas.microsoft.com/office/drawing/2014/main" id="{A179987E-CBCB-616B-E16D-049BEFB97BE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626058" y="7008830"/>
              <a:ext cx="1520535" cy="1520535"/>
            </a:xfrm>
            <a:prstGeom prst="rect">
              <a:avLst/>
            </a:prstGeom>
          </p:spPr>
        </p:pic>
      </p:grpSp>
      <p:grpSp>
        <p:nvGrpSpPr>
          <p:cNvPr id="13" name="Group 12">
            <a:extLst>
              <a:ext uri="{FF2B5EF4-FFF2-40B4-BE49-F238E27FC236}">
                <a16:creationId xmlns:a16="http://schemas.microsoft.com/office/drawing/2014/main" id="{6FE2A735-C532-EEBC-4FDB-3899380FF37F}"/>
              </a:ext>
            </a:extLst>
          </p:cNvPr>
          <p:cNvGrpSpPr/>
          <p:nvPr userDrawn="1"/>
        </p:nvGrpSpPr>
        <p:grpSpPr>
          <a:xfrm>
            <a:off x="14434038" y="7635875"/>
            <a:ext cx="1776646" cy="2619367"/>
            <a:chOff x="16277188" y="7634492"/>
            <a:chExt cx="1776646" cy="2619367"/>
          </a:xfrm>
        </p:grpSpPr>
        <p:sp>
          <p:nvSpPr>
            <p:cNvPr id="14" name="object 3">
              <a:extLst>
                <a:ext uri="{FF2B5EF4-FFF2-40B4-BE49-F238E27FC236}">
                  <a16:creationId xmlns:a16="http://schemas.microsoft.com/office/drawing/2014/main" id="{48207EDC-7DBD-4181-28A2-101FFE9C80DA}"/>
                </a:ext>
              </a:extLst>
            </p:cNvPr>
            <p:cNvSpPr/>
            <p:nvPr/>
          </p:nvSpPr>
          <p:spPr>
            <a:xfrm rot="5400000">
              <a:off x="15855827" y="8055853"/>
              <a:ext cx="2619367" cy="1776646"/>
            </a:xfrm>
            <a:custGeom>
              <a:avLst/>
              <a:gdLst>
                <a:gd name="connsiteX0" fmla="*/ 8083041 w 8083041"/>
                <a:gd name="connsiteY0" fmla="*/ 0 h 1997467"/>
                <a:gd name="connsiteX1" fmla="*/ 0 w 8083041"/>
                <a:gd name="connsiteY1" fmla="*/ 0 h 1997467"/>
                <a:gd name="connsiteX2" fmla="*/ 0 w 8083041"/>
                <a:gd name="connsiteY2" fmla="*/ 1564957 h 1997467"/>
                <a:gd name="connsiteX3" fmla="*/ 401778 w 8083041"/>
                <a:gd name="connsiteY3" fmla="*/ 1564957 h 1997467"/>
                <a:gd name="connsiteX4" fmla="*/ 656587 w 8083041"/>
                <a:gd name="connsiteY4" fmla="*/ 1997467 h 1997467"/>
                <a:gd name="connsiteX5" fmla="*/ 843084 w 8083041"/>
                <a:gd name="connsiteY5" fmla="*/ 1564957 h 1997467"/>
                <a:gd name="connsiteX6" fmla="*/ 4145523 w 8083041"/>
                <a:gd name="connsiteY6" fmla="*/ 1564957 h 1997467"/>
                <a:gd name="connsiteX7" fmla="*/ 8083041 w 8083041"/>
                <a:gd name="connsiteY7" fmla="*/ 0 h 1997467"/>
                <a:gd name="connsiteX0" fmla="*/ 4145522 w 4145523"/>
                <a:gd name="connsiteY0" fmla="*/ 0 h 1997467"/>
                <a:gd name="connsiteX1" fmla="*/ 0 w 4145523"/>
                <a:gd name="connsiteY1" fmla="*/ 0 h 1997467"/>
                <a:gd name="connsiteX2" fmla="*/ 0 w 4145523"/>
                <a:gd name="connsiteY2" fmla="*/ 1564957 h 1997467"/>
                <a:gd name="connsiteX3" fmla="*/ 401778 w 4145523"/>
                <a:gd name="connsiteY3" fmla="*/ 1564957 h 1997467"/>
                <a:gd name="connsiteX4" fmla="*/ 656587 w 4145523"/>
                <a:gd name="connsiteY4" fmla="*/ 1997467 h 1997467"/>
                <a:gd name="connsiteX5" fmla="*/ 843084 w 4145523"/>
                <a:gd name="connsiteY5" fmla="*/ 1564957 h 1997467"/>
                <a:gd name="connsiteX6" fmla="*/ 4145523 w 4145523"/>
                <a:gd name="connsiteY6" fmla="*/ 1564957 h 1997467"/>
                <a:gd name="connsiteX7" fmla="*/ 4145522 w 4145523"/>
                <a:gd name="connsiteY7" fmla="*/ 0 h 1997467"/>
                <a:gd name="connsiteX0" fmla="*/ 2943955 w 4145523"/>
                <a:gd name="connsiteY0" fmla="*/ 0 h 1997467"/>
                <a:gd name="connsiteX1" fmla="*/ 0 w 4145523"/>
                <a:gd name="connsiteY1" fmla="*/ 0 h 1997467"/>
                <a:gd name="connsiteX2" fmla="*/ 0 w 4145523"/>
                <a:gd name="connsiteY2" fmla="*/ 1564957 h 1997467"/>
                <a:gd name="connsiteX3" fmla="*/ 401778 w 4145523"/>
                <a:gd name="connsiteY3" fmla="*/ 1564957 h 1997467"/>
                <a:gd name="connsiteX4" fmla="*/ 656587 w 4145523"/>
                <a:gd name="connsiteY4" fmla="*/ 1997467 h 1997467"/>
                <a:gd name="connsiteX5" fmla="*/ 843084 w 4145523"/>
                <a:gd name="connsiteY5" fmla="*/ 1564957 h 1997467"/>
                <a:gd name="connsiteX6" fmla="*/ 4145523 w 4145523"/>
                <a:gd name="connsiteY6" fmla="*/ 1564957 h 1997467"/>
                <a:gd name="connsiteX7" fmla="*/ 2943955 w 4145523"/>
                <a:gd name="connsiteY7" fmla="*/ 0 h 1997467"/>
                <a:gd name="connsiteX0" fmla="*/ 2943955 w 2943955"/>
                <a:gd name="connsiteY0" fmla="*/ 0 h 1997467"/>
                <a:gd name="connsiteX1" fmla="*/ 0 w 2943955"/>
                <a:gd name="connsiteY1" fmla="*/ 0 h 1997467"/>
                <a:gd name="connsiteX2" fmla="*/ 0 w 2943955"/>
                <a:gd name="connsiteY2" fmla="*/ 1564957 h 1997467"/>
                <a:gd name="connsiteX3" fmla="*/ 401778 w 2943955"/>
                <a:gd name="connsiteY3" fmla="*/ 1564957 h 1997467"/>
                <a:gd name="connsiteX4" fmla="*/ 656587 w 2943955"/>
                <a:gd name="connsiteY4" fmla="*/ 1997467 h 1997467"/>
                <a:gd name="connsiteX5" fmla="*/ 843084 w 2943955"/>
                <a:gd name="connsiteY5" fmla="*/ 1564957 h 1997467"/>
                <a:gd name="connsiteX6" fmla="*/ 2928842 w 2943955"/>
                <a:gd name="connsiteY6" fmla="*/ 1564957 h 1997467"/>
                <a:gd name="connsiteX7" fmla="*/ 2943955 w 2943955"/>
                <a:gd name="connsiteY7" fmla="*/ 0 h 1997467"/>
                <a:gd name="connsiteX0" fmla="*/ 2943955 w 2943955"/>
                <a:gd name="connsiteY0" fmla="*/ 0 h 1997467"/>
                <a:gd name="connsiteX1" fmla="*/ 0 w 2943955"/>
                <a:gd name="connsiteY1" fmla="*/ 113355 h 1997467"/>
                <a:gd name="connsiteX2" fmla="*/ 0 w 2943955"/>
                <a:gd name="connsiteY2" fmla="*/ 1564957 h 1997467"/>
                <a:gd name="connsiteX3" fmla="*/ 401778 w 2943955"/>
                <a:gd name="connsiteY3" fmla="*/ 1564957 h 1997467"/>
                <a:gd name="connsiteX4" fmla="*/ 656587 w 2943955"/>
                <a:gd name="connsiteY4" fmla="*/ 1997467 h 1997467"/>
                <a:gd name="connsiteX5" fmla="*/ 843084 w 2943955"/>
                <a:gd name="connsiteY5" fmla="*/ 1564957 h 1997467"/>
                <a:gd name="connsiteX6" fmla="*/ 2928842 w 2943955"/>
                <a:gd name="connsiteY6" fmla="*/ 1564957 h 1997467"/>
                <a:gd name="connsiteX7" fmla="*/ 2943955 w 2943955"/>
                <a:gd name="connsiteY7" fmla="*/ 0 h 1997467"/>
                <a:gd name="connsiteX0" fmla="*/ 2936398 w 2936398"/>
                <a:gd name="connsiteY0" fmla="*/ 7557 h 1884112"/>
                <a:gd name="connsiteX1" fmla="*/ 0 w 2936398"/>
                <a:gd name="connsiteY1" fmla="*/ 0 h 1884112"/>
                <a:gd name="connsiteX2" fmla="*/ 0 w 2936398"/>
                <a:gd name="connsiteY2" fmla="*/ 1451602 h 1884112"/>
                <a:gd name="connsiteX3" fmla="*/ 401778 w 2936398"/>
                <a:gd name="connsiteY3" fmla="*/ 1451602 h 1884112"/>
                <a:gd name="connsiteX4" fmla="*/ 656587 w 2936398"/>
                <a:gd name="connsiteY4" fmla="*/ 1884112 h 1884112"/>
                <a:gd name="connsiteX5" fmla="*/ 843084 w 2936398"/>
                <a:gd name="connsiteY5" fmla="*/ 1451602 h 1884112"/>
                <a:gd name="connsiteX6" fmla="*/ 2928842 w 2936398"/>
                <a:gd name="connsiteY6" fmla="*/ 1451602 h 1884112"/>
                <a:gd name="connsiteX7" fmla="*/ 2936398 w 2936398"/>
                <a:gd name="connsiteY7" fmla="*/ 7557 h 1884112"/>
                <a:gd name="connsiteX0" fmla="*/ 2936401 w 2936401"/>
                <a:gd name="connsiteY0" fmla="*/ 0 h 2052111"/>
                <a:gd name="connsiteX1" fmla="*/ 0 w 2936401"/>
                <a:gd name="connsiteY1" fmla="*/ 167999 h 2052111"/>
                <a:gd name="connsiteX2" fmla="*/ 0 w 2936401"/>
                <a:gd name="connsiteY2" fmla="*/ 1619601 h 2052111"/>
                <a:gd name="connsiteX3" fmla="*/ 401778 w 2936401"/>
                <a:gd name="connsiteY3" fmla="*/ 1619601 h 2052111"/>
                <a:gd name="connsiteX4" fmla="*/ 656587 w 2936401"/>
                <a:gd name="connsiteY4" fmla="*/ 2052111 h 2052111"/>
                <a:gd name="connsiteX5" fmla="*/ 843084 w 2936401"/>
                <a:gd name="connsiteY5" fmla="*/ 1619601 h 2052111"/>
                <a:gd name="connsiteX6" fmla="*/ 2928842 w 2936401"/>
                <a:gd name="connsiteY6" fmla="*/ 1619601 h 2052111"/>
                <a:gd name="connsiteX7" fmla="*/ 2936401 w 2936401"/>
                <a:gd name="connsiteY7" fmla="*/ 0 h 2052111"/>
                <a:gd name="connsiteX0" fmla="*/ 2936401 w 2936401"/>
                <a:gd name="connsiteY0" fmla="*/ 35276 h 2087387"/>
                <a:gd name="connsiteX1" fmla="*/ 0 w 2936401"/>
                <a:gd name="connsiteY1" fmla="*/ 0 h 2087387"/>
                <a:gd name="connsiteX2" fmla="*/ 0 w 2936401"/>
                <a:gd name="connsiteY2" fmla="*/ 1654877 h 2087387"/>
                <a:gd name="connsiteX3" fmla="*/ 401778 w 2936401"/>
                <a:gd name="connsiteY3" fmla="*/ 1654877 h 2087387"/>
                <a:gd name="connsiteX4" fmla="*/ 656587 w 2936401"/>
                <a:gd name="connsiteY4" fmla="*/ 2087387 h 2087387"/>
                <a:gd name="connsiteX5" fmla="*/ 843084 w 2936401"/>
                <a:gd name="connsiteY5" fmla="*/ 1654877 h 2087387"/>
                <a:gd name="connsiteX6" fmla="*/ 2928842 w 2936401"/>
                <a:gd name="connsiteY6" fmla="*/ 1654877 h 2087387"/>
                <a:gd name="connsiteX7" fmla="*/ 2936401 w 2936401"/>
                <a:gd name="connsiteY7" fmla="*/ 35276 h 2087387"/>
                <a:gd name="connsiteX0" fmla="*/ 2936401 w 2936401"/>
                <a:gd name="connsiteY0" fmla="*/ 0 h 2052111"/>
                <a:gd name="connsiteX1" fmla="*/ 9243 w 2936401"/>
                <a:gd name="connsiteY1" fmla="*/ 1683 h 2052111"/>
                <a:gd name="connsiteX2" fmla="*/ 0 w 2936401"/>
                <a:gd name="connsiteY2" fmla="*/ 1619601 h 2052111"/>
                <a:gd name="connsiteX3" fmla="*/ 401778 w 2936401"/>
                <a:gd name="connsiteY3" fmla="*/ 1619601 h 2052111"/>
                <a:gd name="connsiteX4" fmla="*/ 656587 w 2936401"/>
                <a:gd name="connsiteY4" fmla="*/ 2052111 h 2052111"/>
                <a:gd name="connsiteX5" fmla="*/ 843084 w 2936401"/>
                <a:gd name="connsiteY5" fmla="*/ 1619601 h 2052111"/>
                <a:gd name="connsiteX6" fmla="*/ 2928842 w 2936401"/>
                <a:gd name="connsiteY6" fmla="*/ 1619601 h 2052111"/>
                <a:gd name="connsiteX7" fmla="*/ 2936401 w 2936401"/>
                <a:gd name="connsiteY7" fmla="*/ 0 h 2052111"/>
                <a:gd name="connsiteX0" fmla="*/ 2937953 w 2937953"/>
                <a:gd name="connsiteY0" fmla="*/ 0 h 2052111"/>
                <a:gd name="connsiteX1" fmla="*/ 0 w 2937953"/>
                <a:gd name="connsiteY1" fmla="*/ 7081 h 2052111"/>
                <a:gd name="connsiteX2" fmla="*/ 1552 w 2937953"/>
                <a:gd name="connsiteY2" fmla="*/ 1619601 h 2052111"/>
                <a:gd name="connsiteX3" fmla="*/ 403330 w 2937953"/>
                <a:gd name="connsiteY3" fmla="*/ 1619601 h 2052111"/>
                <a:gd name="connsiteX4" fmla="*/ 658139 w 2937953"/>
                <a:gd name="connsiteY4" fmla="*/ 2052111 h 2052111"/>
                <a:gd name="connsiteX5" fmla="*/ 844636 w 2937953"/>
                <a:gd name="connsiteY5" fmla="*/ 1619601 h 2052111"/>
                <a:gd name="connsiteX6" fmla="*/ 2930394 w 2937953"/>
                <a:gd name="connsiteY6" fmla="*/ 1619601 h 2052111"/>
                <a:gd name="connsiteX7" fmla="*/ 2937953 w 2937953"/>
                <a:gd name="connsiteY7" fmla="*/ 0 h 2052111"/>
                <a:gd name="connsiteX0" fmla="*/ 2937953 w 2937953"/>
                <a:gd name="connsiteY0" fmla="*/ 0 h 2052111"/>
                <a:gd name="connsiteX1" fmla="*/ 0 w 2937953"/>
                <a:gd name="connsiteY1" fmla="*/ 7081 h 2052111"/>
                <a:gd name="connsiteX2" fmla="*/ 1552 w 2937953"/>
                <a:gd name="connsiteY2" fmla="*/ 1619601 h 2052111"/>
                <a:gd name="connsiteX3" fmla="*/ 403330 w 2937953"/>
                <a:gd name="connsiteY3" fmla="*/ 1619601 h 2052111"/>
                <a:gd name="connsiteX4" fmla="*/ 658139 w 2937953"/>
                <a:gd name="connsiteY4" fmla="*/ 2052111 h 2052111"/>
                <a:gd name="connsiteX5" fmla="*/ 1103739 w 2937953"/>
                <a:gd name="connsiteY5" fmla="*/ 1619601 h 2052111"/>
                <a:gd name="connsiteX6" fmla="*/ 2930394 w 2937953"/>
                <a:gd name="connsiteY6" fmla="*/ 1619601 h 2052111"/>
                <a:gd name="connsiteX7" fmla="*/ 2937953 w 2937953"/>
                <a:gd name="connsiteY7" fmla="*/ 0 h 2052111"/>
                <a:gd name="connsiteX0" fmla="*/ 2937953 w 2937953"/>
                <a:gd name="connsiteY0" fmla="*/ 0 h 2052111"/>
                <a:gd name="connsiteX1" fmla="*/ 0 w 2937953"/>
                <a:gd name="connsiteY1" fmla="*/ 7081 h 2052111"/>
                <a:gd name="connsiteX2" fmla="*/ 1552 w 2937953"/>
                <a:gd name="connsiteY2" fmla="*/ 1619601 h 2052111"/>
                <a:gd name="connsiteX3" fmla="*/ 608454 w 2937953"/>
                <a:gd name="connsiteY3" fmla="*/ 1624999 h 2052111"/>
                <a:gd name="connsiteX4" fmla="*/ 658139 w 2937953"/>
                <a:gd name="connsiteY4" fmla="*/ 2052111 h 2052111"/>
                <a:gd name="connsiteX5" fmla="*/ 1103739 w 2937953"/>
                <a:gd name="connsiteY5" fmla="*/ 1619601 h 2052111"/>
                <a:gd name="connsiteX6" fmla="*/ 2930394 w 2937953"/>
                <a:gd name="connsiteY6" fmla="*/ 1619601 h 2052111"/>
                <a:gd name="connsiteX7" fmla="*/ 2937953 w 2937953"/>
                <a:gd name="connsiteY7" fmla="*/ 0 h 2052111"/>
                <a:gd name="connsiteX0" fmla="*/ 2937953 w 2937953"/>
                <a:gd name="connsiteY0" fmla="*/ 0 h 2057509"/>
                <a:gd name="connsiteX1" fmla="*/ 0 w 2937953"/>
                <a:gd name="connsiteY1" fmla="*/ 7081 h 2057509"/>
                <a:gd name="connsiteX2" fmla="*/ 1552 w 2937953"/>
                <a:gd name="connsiteY2" fmla="*/ 1619601 h 2057509"/>
                <a:gd name="connsiteX3" fmla="*/ 608454 w 2937953"/>
                <a:gd name="connsiteY3" fmla="*/ 1624999 h 2057509"/>
                <a:gd name="connsiteX4" fmla="*/ 857864 w 2937953"/>
                <a:gd name="connsiteY4" fmla="*/ 2057509 h 2057509"/>
                <a:gd name="connsiteX5" fmla="*/ 1103739 w 2937953"/>
                <a:gd name="connsiteY5" fmla="*/ 1619601 h 2057509"/>
                <a:gd name="connsiteX6" fmla="*/ 2930394 w 2937953"/>
                <a:gd name="connsiteY6" fmla="*/ 1619601 h 2057509"/>
                <a:gd name="connsiteX7" fmla="*/ 2937953 w 2937953"/>
                <a:gd name="connsiteY7" fmla="*/ 0 h 2057509"/>
                <a:gd name="connsiteX0" fmla="*/ 2937953 w 2937953"/>
                <a:gd name="connsiteY0" fmla="*/ 0 h 1992733"/>
                <a:gd name="connsiteX1" fmla="*/ 0 w 2937953"/>
                <a:gd name="connsiteY1" fmla="*/ 7081 h 1992733"/>
                <a:gd name="connsiteX2" fmla="*/ 1552 w 2937953"/>
                <a:gd name="connsiteY2" fmla="*/ 1619601 h 1992733"/>
                <a:gd name="connsiteX3" fmla="*/ 608454 w 2937953"/>
                <a:gd name="connsiteY3" fmla="*/ 1624999 h 1992733"/>
                <a:gd name="connsiteX4" fmla="*/ 863265 w 2937953"/>
                <a:gd name="connsiteY4" fmla="*/ 1992733 h 1992733"/>
                <a:gd name="connsiteX5" fmla="*/ 1103739 w 2937953"/>
                <a:gd name="connsiteY5" fmla="*/ 1619601 h 1992733"/>
                <a:gd name="connsiteX6" fmla="*/ 2930394 w 2937953"/>
                <a:gd name="connsiteY6" fmla="*/ 1619601 h 1992733"/>
                <a:gd name="connsiteX7" fmla="*/ 2937953 w 2937953"/>
                <a:gd name="connsiteY7" fmla="*/ 0 h 199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7953" h="1992733">
                  <a:moveTo>
                    <a:pt x="2937953" y="0"/>
                  </a:moveTo>
                  <a:lnTo>
                    <a:pt x="0" y="7081"/>
                  </a:lnTo>
                  <a:cubicBezTo>
                    <a:pt x="517" y="544588"/>
                    <a:pt x="1035" y="1082094"/>
                    <a:pt x="1552" y="1619601"/>
                  </a:cubicBezTo>
                  <a:lnTo>
                    <a:pt x="608454" y="1624999"/>
                  </a:lnTo>
                  <a:lnTo>
                    <a:pt x="863265" y="1992733"/>
                  </a:lnTo>
                  <a:lnTo>
                    <a:pt x="1103739" y="1619601"/>
                  </a:lnTo>
                  <a:lnTo>
                    <a:pt x="2930394" y="1619601"/>
                  </a:lnTo>
                  <a:cubicBezTo>
                    <a:pt x="2930394" y="1097949"/>
                    <a:pt x="2937953" y="521652"/>
                    <a:pt x="2937953" y="0"/>
                  </a:cubicBezTo>
                  <a:close/>
                </a:path>
              </a:pathLst>
            </a:custGeom>
            <a:solidFill>
              <a:schemeClr val="accent4"/>
            </a:solidFill>
          </p:spPr>
          <p:txBody>
            <a:bodyPr wrap="square" lIns="0" tIns="0" rIns="0" bIns="0" rtlCol="0"/>
            <a:lstStyle/>
            <a:p>
              <a:pPr algn="l" rtl="0"/>
              <a:endParaRPr>
                <a:latin typeface="Tahoma" panose="020B0604030504040204" pitchFamily="34" charset="0"/>
                <a:ea typeface="Tahoma" panose="020B0604030504040204" pitchFamily="34" charset="0"/>
                <a:cs typeface="Tahoma" panose="020B0604030504040204" pitchFamily="34" charset="0"/>
              </a:endParaRPr>
            </a:p>
          </p:txBody>
        </p:sp>
        <p:grpSp>
          <p:nvGrpSpPr>
            <p:cNvPr id="15" name="Group 14">
              <a:extLst>
                <a:ext uri="{FF2B5EF4-FFF2-40B4-BE49-F238E27FC236}">
                  <a16:creationId xmlns:a16="http://schemas.microsoft.com/office/drawing/2014/main" id="{0113AE9A-7B25-A314-BC28-83C1AD5DD7BC}"/>
                </a:ext>
              </a:extLst>
            </p:cNvPr>
            <p:cNvGrpSpPr/>
            <p:nvPr/>
          </p:nvGrpSpPr>
          <p:grpSpPr>
            <a:xfrm rot="5400000">
              <a:off x="16767017" y="8845707"/>
              <a:ext cx="1165467" cy="269801"/>
              <a:chOff x="3346450" y="2637355"/>
              <a:chExt cx="1481234" cy="342900"/>
            </a:xfrm>
          </p:grpSpPr>
          <p:pic>
            <p:nvPicPr>
              <p:cNvPr id="16" name="Graphic 15">
                <a:extLst>
                  <a:ext uri="{FF2B5EF4-FFF2-40B4-BE49-F238E27FC236}">
                    <a16:creationId xmlns:a16="http://schemas.microsoft.com/office/drawing/2014/main" id="{75F0C78B-56F9-DCAB-8D57-DD782768121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46450" y="2637355"/>
                <a:ext cx="342900" cy="342900"/>
              </a:xfrm>
              <a:prstGeom prst="rect">
                <a:avLst/>
              </a:prstGeom>
            </p:spPr>
          </p:pic>
          <p:pic>
            <p:nvPicPr>
              <p:cNvPr id="17" name="Graphic 16">
                <a:extLst>
                  <a:ext uri="{FF2B5EF4-FFF2-40B4-BE49-F238E27FC236}">
                    <a16:creationId xmlns:a16="http://schemas.microsoft.com/office/drawing/2014/main" id="{97826A94-A31A-D85C-5C34-E0F9ACFFBC6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915617" y="2637355"/>
                <a:ext cx="342900" cy="342900"/>
              </a:xfrm>
              <a:prstGeom prst="rect">
                <a:avLst/>
              </a:prstGeom>
            </p:spPr>
          </p:pic>
          <p:pic>
            <p:nvPicPr>
              <p:cNvPr id="18" name="Graphic 17">
                <a:extLst>
                  <a:ext uri="{FF2B5EF4-FFF2-40B4-BE49-F238E27FC236}">
                    <a16:creationId xmlns:a16="http://schemas.microsoft.com/office/drawing/2014/main" id="{70D4F9A5-607A-DD04-369E-0FAB8119FA1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84784" y="2637355"/>
                <a:ext cx="342900" cy="342900"/>
              </a:xfrm>
              <a:prstGeom prst="rect">
                <a:avLst/>
              </a:prstGeom>
            </p:spPr>
          </p:pic>
        </p:grpSp>
      </p:grpSp>
      <p:grpSp>
        <p:nvGrpSpPr>
          <p:cNvPr id="19" name="Group 18">
            <a:extLst>
              <a:ext uri="{FF2B5EF4-FFF2-40B4-BE49-F238E27FC236}">
                <a16:creationId xmlns:a16="http://schemas.microsoft.com/office/drawing/2014/main" id="{F7EB1CA7-E46E-5AA1-BA29-2FE2B6306E18}"/>
              </a:ext>
            </a:extLst>
          </p:cNvPr>
          <p:cNvGrpSpPr/>
          <p:nvPr userDrawn="1"/>
        </p:nvGrpSpPr>
        <p:grpSpPr>
          <a:xfrm>
            <a:off x="17062450" y="1158875"/>
            <a:ext cx="1444643" cy="2239273"/>
            <a:chOff x="15486784" y="1129402"/>
            <a:chExt cx="1444643" cy="2239273"/>
          </a:xfrm>
        </p:grpSpPr>
        <p:sp>
          <p:nvSpPr>
            <p:cNvPr id="20" name="Graphic 19">
              <a:extLst>
                <a:ext uri="{FF2B5EF4-FFF2-40B4-BE49-F238E27FC236}">
                  <a16:creationId xmlns:a16="http://schemas.microsoft.com/office/drawing/2014/main" id="{C448AC5F-3E10-9B5C-BE80-A092C60C2010}"/>
                </a:ext>
              </a:extLst>
            </p:cNvPr>
            <p:cNvSpPr/>
            <p:nvPr/>
          </p:nvSpPr>
          <p:spPr>
            <a:xfrm>
              <a:off x="15486784" y="1129402"/>
              <a:ext cx="1444643" cy="2239273"/>
            </a:xfrm>
            <a:custGeom>
              <a:avLst/>
              <a:gdLst>
                <a:gd name="connsiteX0" fmla="*/ 1447475 w 1447474"/>
                <a:gd name="connsiteY0" fmla="*/ 1560269 h 1560269"/>
                <a:gd name="connsiteX1" fmla="*/ 0 w 1447474"/>
                <a:gd name="connsiteY1" fmla="*/ 1560269 h 1560269"/>
                <a:gd name="connsiteX2" fmla="*/ 0 w 1447474"/>
                <a:gd name="connsiteY2" fmla="*/ 729393 h 1560269"/>
                <a:gd name="connsiteX3" fmla="*/ 723737 w 1447474"/>
                <a:gd name="connsiteY3" fmla="*/ 0 h 1560269"/>
                <a:gd name="connsiteX4" fmla="*/ 1447475 w 1447474"/>
                <a:gd name="connsiteY4" fmla="*/ 729393 h 1560269"/>
                <a:gd name="connsiteX5" fmla="*/ 1447475 w 1447474"/>
                <a:gd name="connsiteY5" fmla="*/ 1560269 h 1560269"/>
                <a:gd name="connsiteX0" fmla="*/ 1447475 w 1447475"/>
                <a:gd name="connsiteY0" fmla="*/ 2243663 h 2243663"/>
                <a:gd name="connsiteX1" fmla="*/ 0 w 1447475"/>
                <a:gd name="connsiteY1" fmla="*/ 1560269 h 2243663"/>
                <a:gd name="connsiteX2" fmla="*/ 0 w 1447475"/>
                <a:gd name="connsiteY2" fmla="*/ 729393 h 2243663"/>
                <a:gd name="connsiteX3" fmla="*/ 723737 w 1447475"/>
                <a:gd name="connsiteY3" fmla="*/ 0 h 2243663"/>
                <a:gd name="connsiteX4" fmla="*/ 1447475 w 1447475"/>
                <a:gd name="connsiteY4" fmla="*/ 729393 h 2243663"/>
                <a:gd name="connsiteX5" fmla="*/ 1447475 w 1447475"/>
                <a:gd name="connsiteY5" fmla="*/ 2243663 h 2243663"/>
                <a:gd name="connsiteX0" fmla="*/ 1447475 w 1447475"/>
                <a:gd name="connsiteY0" fmla="*/ 2243663 h 2243663"/>
                <a:gd name="connsiteX1" fmla="*/ 9625 w 1447475"/>
                <a:gd name="connsiteY1" fmla="*/ 2243662 h 2243663"/>
                <a:gd name="connsiteX2" fmla="*/ 0 w 1447475"/>
                <a:gd name="connsiteY2" fmla="*/ 729393 h 2243663"/>
                <a:gd name="connsiteX3" fmla="*/ 723737 w 1447475"/>
                <a:gd name="connsiteY3" fmla="*/ 0 h 2243663"/>
                <a:gd name="connsiteX4" fmla="*/ 1447475 w 1447475"/>
                <a:gd name="connsiteY4" fmla="*/ 729393 h 2243663"/>
                <a:gd name="connsiteX5" fmla="*/ 1447475 w 1447475"/>
                <a:gd name="connsiteY5" fmla="*/ 2243663 h 224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7475" h="2243663">
                  <a:moveTo>
                    <a:pt x="1447475" y="2243663"/>
                  </a:moveTo>
                  <a:lnTo>
                    <a:pt x="9625" y="2243662"/>
                  </a:lnTo>
                  <a:cubicBezTo>
                    <a:pt x="6417" y="1738906"/>
                    <a:pt x="3208" y="1234149"/>
                    <a:pt x="0" y="729393"/>
                  </a:cubicBezTo>
                  <a:cubicBezTo>
                    <a:pt x="0" y="326579"/>
                    <a:pt x="324047" y="0"/>
                    <a:pt x="723737" y="0"/>
                  </a:cubicBezTo>
                  <a:cubicBezTo>
                    <a:pt x="1123428" y="0"/>
                    <a:pt x="1447475" y="326579"/>
                    <a:pt x="1447475" y="729393"/>
                  </a:cubicBezTo>
                  <a:lnTo>
                    <a:pt x="1447475" y="2243663"/>
                  </a:lnTo>
                  <a:close/>
                </a:path>
              </a:pathLst>
            </a:custGeom>
            <a:solidFill>
              <a:schemeClr val="accent1"/>
            </a:solidFill>
            <a:ln w="16267" cap="flat">
              <a:noFill/>
              <a:prstDash val="solid"/>
              <a:miter/>
            </a:ln>
          </p:spPr>
          <p:txBody>
            <a:bodyPr rtlCol="0" anchor="ctr"/>
            <a:lstStyle/>
            <a:p>
              <a:pPr algn="l" rtl="0"/>
              <a:endParaRPr lang="en-AE"/>
            </a:p>
          </p:txBody>
        </p:sp>
        <p:pic>
          <p:nvPicPr>
            <p:cNvPr id="21" name="Graphic 20">
              <a:extLst>
                <a:ext uri="{FF2B5EF4-FFF2-40B4-BE49-F238E27FC236}">
                  <a16:creationId xmlns:a16="http://schemas.microsoft.com/office/drawing/2014/main" id="{4FAEC23D-4A6E-D7CA-76C1-84554B98DA8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801142">
              <a:off x="15826581" y="2144891"/>
              <a:ext cx="765048" cy="649401"/>
            </a:xfrm>
            <a:prstGeom prst="rect">
              <a:avLst/>
            </a:prstGeom>
          </p:spPr>
        </p:pic>
      </p:grpSp>
    </p:spTree>
    <p:extLst>
      <p:ext uri="{BB962C8B-B14F-4D97-AF65-F5344CB8AC3E}">
        <p14:creationId xmlns:p14="http://schemas.microsoft.com/office/powerpoint/2010/main" val="19634486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age breaker - style 2 red">
    <p:bg>
      <p:bgPr>
        <a:solidFill>
          <a:schemeClr val="accent1"/>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CA2589EB-A858-E472-2917-CC77FB316E02}"/>
              </a:ext>
            </a:extLst>
          </p:cNvPr>
          <p:cNvGrpSpPr/>
          <p:nvPr userDrawn="1"/>
        </p:nvGrpSpPr>
        <p:grpSpPr>
          <a:xfrm>
            <a:off x="12539117" y="6587222"/>
            <a:ext cx="2363751" cy="2363751"/>
            <a:chOff x="10204450" y="6587222"/>
            <a:chExt cx="2363751" cy="2363751"/>
          </a:xfrm>
        </p:grpSpPr>
        <p:pic>
          <p:nvPicPr>
            <p:cNvPr id="11" name="Graphic 10">
              <a:extLst>
                <a:ext uri="{FF2B5EF4-FFF2-40B4-BE49-F238E27FC236}">
                  <a16:creationId xmlns:a16="http://schemas.microsoft.com/office/drawing/2014/main" id="{2E804DE9-0419-2055-79ED-9080EEB0BAA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04450" y="6587222"/>
              <a:ext cx="2363751" cy="2363751"/>
            </a:xfrm>
            <a:prstGeom prst="rect">
              <a:avLst/>
            </a:prstGeom>
          </p:spPr>
        </p:pic>
        <p:pic>
          <p:nvPicPr>
            <p:cNvPr id="12" name="Graphic 11">
              <a:extLst>
                <a:ext uri="{FF2B5EF4-FFF2-40B4-BE49-F238E27FC236}">
                  <a16:creationId xmlns:a16="http://schemas.microsoft.com/office/drawing/2014/main" id="{A179987E-CBCB-616B-E16D-049BEFB97BE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626058" y="7008830"/>
              <a:ext cx="1520535" cy="1520535"/>
            </a:xfrm>
            <a:prstGeom prst="rect">
              <a:avLst/>
            </a:prstGeom>
          </p:spPr>
        </p:pic>
      </p:grpSp>
      <p:grpSp>
        <p:nvGrpSpPr>
          <p:cNvPr id="13" name="Group 12">
            <a:extLst>
              <a:ext uri="{FF2B5EF4-FFF2-40B4-BE49-F238E27FC236}">
                <a16:creationId xmlns:a16="http://schemas.microsoft.com/office/drawing/2014/main" id="{6FE2A735-C532-EEBC-4FDB-3899380FF37F}"/>
              </a:ext>
            </a:extLst>
          </p:cNvPr>
          <p:cNvGrpSpPr/>
          <p:nvPr userDrawn="1"/>
        </p:nvGrpSpPr>
        <p:grpSpPr>
          <a:xfrm>
            <a:off x="14434038" y="7635875"/>
            <a:ext cx="1776646" cy="2619367"/>
            <a:chOff x="16277188" y="7634492"/>
            <a:chExt cx="1776646" cy="2619367"/>
          </a:xfrm>
        </p:grpSpPr>
        <p:sp>
          <p:nvSpPr>
            <p:cNvPr id="14" name="object 3">
              <a:extLst>
                <a:ext uri="{FF2B5EF4-FFF2-40B4-BE49-F238E27FC236}">
                  <a16:creationId xmlns:a16="http://schemas.microsoft.com/office/drawing/2014/main" id="{48207EDC-7DBD-4181-28A2-101FFE9C80DA}"/>
                </a:ext>
              </a:extLst>
            </p:cNvPr>
            <p:cNvSpPr/>
            <p:nvPr/>
          </p:nvSpPr>
          <p:spPr>
            <a:xfrm rot="5400000">
              <a:off x="15855827" y="8055853"/>
              <a:ext cx="2619367" cy="1776646"/>
            </a:xfrm>
            <a:custGeom>
              <a:avLst/>
              <a:gdLst>
                <a:gd name="connsiteX0" fmla="*/ 8083041 w 8083041"/>
                <a:gd name="connsiteY0" fmla="*/ 0 h 1997467"/>
                <a:gd name="connsiteX1" fmla="*/ 0 w 8083041"/>
                <a:gd name="connsiteY1" fmla="*/ 0 h 1997467"/>
                <a:gd name="connsiteX2" fmla="*/ 0 w 8083041"/>
                <a:gd name="connsiteY2" fmla="*/ 1564957 h 1997467"/>
                <a:gd name="connsiteX3" fmla="*/ 401778 w 8083041"/>
                <a:gd name="connsiteY3" fmla="*/ 1564957 h 1997467"/>
                <a:gd name="connsiteX4" fmla="*/ 656587 w 8083041"/>
                <a:gd name="connsiteY4" fmla="*/ 1997467 h 1997467"/>
                <a:gd name="connsiteX5" fmla="*/ 843084 w 8083041"/>
                <a:gd name="connsiteY5" fmla="*/ 1564957 h 1997467"/>
                <a:gd name="connsiteX6" fmla="*/ 4145523 w 8083041"/>
                <a:gd name="connsiteY6" fmla="*/ 1564957 h 1997467"/>
                <a:gd name="connsiteX7" fmla="*/ 8083041 w 8083041"/>
                <a:gd name="connsiteY7" fmla="*/ 0 h 1997467"/>
                <a:gd name="connsiteX0" fmla="*/ 4145522 w 4145523"/>
                <a:gd name="connsiteY0" fmla="*/ 0 h 1997467"/>
                <a:gd name="connsiteX1" fmla="*/ 0 w 4145523"/>
                <a:gd name="connsiteY1" fmla="*/ 0 h 1997467"/>
                <a:gd name="connsiteX2" fmla="*/ 0 w 4145523"/>
                <a:gd name="connsiteY2" fmla="*/ 1564957 h 1997467"/>
                <a:gd name="connsiteX3" fmla="*/ 401778 w 4145523"/>
                <a:gd name="connsiteY3" fmla="*/ 1564957 h 1997467"/>
                <a:gd name="connsiteX4" fmla="*/ 656587 w 4145523"/>
                <a:gd name="connsiteY4" fmla="*/ 1997467 h 1997467"/>
                <a:gd name="connsiteX5" fmla="*/ 843084 w 4145523"/>
                <a:gd name="connsiteY5" fmla="*/ 1564957 h 1997467"/>
                <a:gd name="connsiteX6" fmla="*/ 4145523 w 4145523"/>
                <a:gd name="connsiteY6" fmla="*/ 1564957 h 1997467"/>
                <a:gd name="connsiteX7" fmla="*/ 4145522 w 4145523"/>
                <a:gd name="connsiteY7" fmla="*/ 0 h 1997467"/>
                <a:gd name="connsiteX0" fmla="*/ 2943955 w 4145523"/>
                <a:gd name="connsiteY0" fmla="*/ 0 h 1997467"/>
                <a:gd name="connsiteX1" fmla="*/ 0 w 4145523"/>
                <a:gd name="connsiteY1" fmla="*/ 0 h 1997467"/>
                <a:gd name="connsiteX2" fmla="*/ 0 w 4145523"/>
                <a:gd name="connsiteY2" fmla="*/ 1564957 h 1997467"/>
                <a:gd name="connsiteX3" fmla="*/ 401778 w 4145523"/>
                <a:gd name="connsiteY3" fmla="*/ 1564957 h 1997467"/>
                <a:gd name="connsiteX4" fmla="*/ 656587 w 4145523"/>
                <a:gd name="connsiteY4" fmla="*/ 1997467 h 1997467"/>
                <a:gd name="connsiteX5" fmla="*/ 843084 w 4145523"/>
                <a:gd name="connsiteY5" fmla="*/ 1564957 h 1997467"/>
                <a:gd name="connsiteX6" fmla="*/ 4145523 w 4145523"/>
                <a:gd name="connsiteY6" fmla="*/ 1564957 h 1997467"/>
                <a:gd name="connsiteX7" fmla="*/ 2943955 w 4145523"/>
                <a:gd name="connsiteY7" fmla="*/ 0 h 1997467"/>
                <a:gd name="connsiteX0" fmla="*/ 2943955 w 2943955"/>
                <a:gd name="connsiteY0" fmla="*/ 0 h 1997467"/>
                <a:gd name="connsiteX1" fmla="*/ 0 w 2943955"/>
                <a:gd name="connsiteY1" fmla="*/ 0 h 1997467"/>
                <a:gd name="connsiteX2" fmla="*/ 0 w 2943955"/>
                <a:gd name="connsiteY2" fmla="*/ 1564957 h 1997467"/>
                <a:gd name="connsiteX3" fmla="*/ 401778 w 2943955"/>
                <a:gd name="connsiteY3" fmla="*/ 1564957 h 1997467"/>
                <a:gd name="connsiteX4" fmla="*/ 656587 w 2943955"/>
                <a:gd name="connsiteY4" fmla="*/ 1997467 h 1997467"/>
                <a:gd name="connsiteX5" fmla="*/ 843084 w 2943955"/>
                <a:gd name="connsiteY5" fmla="*/ 1564957 h 1997467"/>
                <a:gd name="connsiteX6" fmla="*/ 2928842 w 2943955"/>
                <a:gd name="connsiteY6" fmla="*/ 1564957 h 1997467"/>
                <a:gd name="connsiteX7" fmla="*/ 2943955 w 2943955"/>
                <a:gd name="connsiteY7" fmla="*/ 0 h 1997467"/>
                <a:gd name="connsiteX0" fmla="*/ 2943955 w 2943955"/>
                <a:gd name="connsiteY0" fmla="*/ 0 h 1997467"/>
                <a:gd name="connsiteX1" fmla="*/ 0 w 2943955"/>
                <a:gd name="connsiteY1" fmla="*/ 113355 h 1997467"/>
                <a:gd name="connsiteX2" fmla="*/ 0 w 2943955"/>
                <a:gd name="connsiteY2" fmla="*/ 1564957 h 1997467"/>
                <a:gd name="connsiteX3" fmla="*/ 401778 w 2943955"/>
                <a:gd name="connsiteY3" fmla="*/ 1564957 h 1997467"/>
                <a:gd name="connsiteX4" fmla="*/ 656587 w 2943955"/>
                <a:gd name="connsiteY4" fmla="*/ 1997467 h 1997467"/>
                <a:gd name="connsiteX5" fmla="*/ 843084 w 2943955"/>
                <a:gd name="connsiteY5" fmla="*/ 1564957 h 1997467"/>
                <a:gd name="connsiteX6" fmla="*/ 2928842 w 2943955"/>
                <a:gd name="connsiteY6" fmla="*/ 1564957 h 1997467"/>
                <a:gd name="connsiteX7" fmla="*/ 2943955 w 2943955"/>
                <a:gd name="connsiteY7" fmla="*/ 0 h 1997467"/>
                <a:gd name="connsiteX0" fmla="*/ 2936398 w 2936398"/>
                <a:gd name="connsiteY0" fmla="*/ 7557 h 1884112"/>
                <a:gd name="connsiteX1" fmla="*/ 0 w 2936398"/>
                <a:gd name="connsiteY1" fmla="*/ 0 h 1884112"/>
                <a:gd name="connsiteX2" fmla="*/ 0 w 2936398"/>
                <a:gd name="connsiteY2" fmla="*/ 1451602 h 1884112"/>
                <a:gd name="connsiteX3" fmla="*/ 401778 w 2936398"/>
                <a:gd name="connsiteY3" fmla="*/ 1451602 h 1884112"/>
                <a:gd name="connsiteX4" fmla="*/ 656587 w 2936398"/>
                <a:gd name="connsiteY4" fmla="*/ 1884112 h 1884112"/>
                <a:gd name="connsiteX5" fmla="*/ 843084 w 2936398"/>
                <a:gd name="connsiteY5" fmla="*/ 1451602 h 1884112"/>
                <a:gd name="connsiteX6" fmla="*/ 2928842 w 2936398"/>
                <a:gd name="connsiteY6" fmla="*/ 1451602 h 1884112"/>
                <a:gd name="connsiteX7" fmla="*/ 2936398 w 2936398"/>
                <a:gd name="connsiteY7" fmla="*/ 7557 h 1884112"/>
                <a:gd name="connsiteX0" fmla="*/ 2936401 w 2936401"/>
                <a:gd name="connsiteY0" fmla="*/ 0 h 2052111"/>
                <a:gd name="connsiteX1" fmla="*/ 0 w 2936401"/>
                <a:gd name="connsiteY1" fmla="*/ 167999 h 2052111"/>
                <a:gd name="connsiteX2" fmla="*/ 0 w 2936401"/>
                <a:gd name="connsiteY2" fmla="*/ 1619601 h 2052111"/>
                <a:gd name="connsiteX3" fmla="*/ 401778 w 2936401"/>
                <a:gd name="connsiteY3" fmla="*/ 1619601 h 2052111"/>
                <a:gd name="connsiteX4" fmla="*/ 656587 w 2936401"/>
                <a:gd name="connsiteY4" fmla="*/ 2052111 h 2052111"/>
                <a:gd name="connsiteX5" fmla="*/ 843084 w 2936401"/>
                <a:gd name="connsiteY5" fmla="*/ 1619601 h 2052111"/>
                <a:gd name="connsiteX6" fmla="*/ 2928842 w 2936401"/>
                <a:gd name="connsiteY6" fmla="*/ 1619601 h 2052111"/>
                <a:gd name="connsiteX7" fmla="*/ 2936401 w 2936401"/>
                <a:gd name="connsiteY7" fmla="*/ 0 h 2052111"/>
                <a:gd name="connsiteX0" fmla="*/ 2936401 w 2936401"/>
                <a:gd name="connsiteY0" fmla="*/ 35276 h 2087387"/>
                <a:gd name="connsiteX1" fmla="*/ 0 w 2936401"/>
                <a:gd name="connsiteY1" fmla="*/ 0 h 2087387"/>
                <a:gd name="connsiteX2" fmla="*/ 0 w 2936401"/>
                <a:gd name="connsiteY2" fmla="*/ 1654877 h 2087387"/>
                <a:gd name="connsiteX3" fmla="*/ 401778 w 2936401"/>
                <a:gd name="connsiteY3" fmla="*/ 1654877 h 2087387"/>
                <a:gd name="connsiteX4" fmla="*/ 656587 w 2936401"/>
                <a:gd name="connsiteY4" fmla="*/ 2087387 h 2087387"/>
                <a:gd name="connsiteX5" fmla="*/ 843084 w 2936401"/>
                <a:gd name="connsiteY5" fmla="*/ 1654877 h 2087387"/>
                <a:gd name="connsiteX6" fmla="*/ 2928842 w 2936401"/>
                <a:gd name="connsiteY6" fmla="*/ 1654877 h 2087387"/>
                <a:gd name="connsiteX7" fmla="*/ 2936401 w 2936401"/>
                <a:gd name="connsiteY7" fmla="*/ 35276 h 2087387"/>
                <a:gd name="connsiteX0" fmla="*/ 2936401 w 2936401"/>
                <a:gd name="connsiteY0" fmla="*/ 0 h 2052111"/>
                <a:gd name="connsiteX1" fmla="*/ 9243 w 2936401"/>
                <a:gd name="connsiteY1" fmla="*/ 1683 h 2052111"/>
                <a:gd name="connsiteX2" fmla="*/ 0 w 2936401"/>
                <a:gd name="connsiteY2" fmla="*/ 1619601 h 2052111"/>
                <a:gd name="connsiteX3" fmla="*/ 401778 w 2936401"/>
                <a:gd name="connsiteY3" fmla="*/ 1619601 h 2052111"/>
                <a:gd name="connsiteX4" fmla="*/ 656587 w 2936401"/>
                <a:gd name="connsiteY4" fmla="*/ 2052111 h 2052111"/>
                <a:gd name="connsiteX5" fmla="*/ 843084 w 2936401"/>
                <a:gd name="connsiteY5" fmla="*/ 1619601 h 2052111"/>
                <a:gd name="connsiteX6" fmla="*/ 2928842 w 2936401"/>
                <a:gd name="connsiteY6" fmla="*/ 1619601 h 2052111"/>
                <a:gd name="connsiteX7" fmla="*/ 2936401 w 2936401"/>
                <a:gd name="connsiteY7" fmla="*/ 0 h 2052111"/>
                <a:gd name="connsiteX0" fmla="*/ 2937953 w 2937953"/>
                <a:gd name="connsiteY0" fmla="*/ 0 h 2052111"/>
                <a:gd name="connsiteX1" fmla="*/ 0 w 2937953"/>
                <a:gd name="connsiteY1" fmla="*/ 7081 h 2052111"/>
                <a:gd name="connsiteX2" fmla="*/ 1552 w 2937953"/>
                <a:gd name="connsiteY2" fmla="*/ 1619601 h 2052111"/>
                <a:gd name="connsiteX3" fmla="*/ 403330 w 2937953"/>
                <a:gd name="connsiteY3" fmla="*/ 1619601 h 2052111"/>
                <a:gd name="connsiteX4" fmla="*/ 658139 w 2937953"/>
                <a:gd name="connsiteY4" fmla="*/ 2052111 h 2052111"/>
                <a:gd name="connsiteX5" fmla="*/ 844636 w 2937953"/>
                <a:gd name="connsiteY5" fmla="*/ 1619601 h 2052111"/>
                <a:gd name="connsiteX6" fmla="*/ 2930394 w 2937953"/>
                <a:gd name="connsiteY6" fmla="*/ 1619601 h 2052111"/>
                <a:gd name="connsiteX7" fmla="*/ 2937953 w 2937953"/>
                <a:gd name="connsiteY7" fmla="*/ 0 h 2052111"/>
                <a:gd name="connsiteX0" fmla="*/ 2937953 w 2937953"/>
                <a:gd name="connsiteY0" fmla="*/ 0 h 2052111"/>
                <a:gd name="connsiteX1" fmla="*/ 0 w 2937953"/>
                <a:gd name="connsiteY1" fmla="*/ 7081 h 2052111"/>
                <a:gd name="connsiteX2" fmla="*/ 1552 w 2937953"/>
                <a:gd name="connsiteY2" fmla="*/ 1619601 h 2052111"/>
                <a:gd name="connsiteX3" fmla="*/ 403330 w 2937953"/>
                <a:gd name="connsiteY3" fmla="*/ 1619601 h 2052111"/>
                <a:gd name="connsiteX4" fmla="*/ 658139 w 2937953"/>
                <a:gd name="connsiteY4" fmla="*/ 2052111 h 2052111"/>
                <a:gd name="connsiteX5" fmla="*/ 1103739 w 2937953"/>
                <a:gd name="connsiteY5" fmla="*/ 1619601 h 2052111"/>
                <a:gd name="connsiteX6" fmla="*/ 2930394 w 2937953"/>
                <a:gd name="connsiteY6" fmla="*/ 1619601 h 2052111"/>
                <a:gd name="connsiteX7" fmla="*/ 2937953 w 2937953"/>
                <a:gd name="connsiteY7" fmla="*/ 0 h 2052111"/>
                <a:gd name="connsiteX0" fmla="*/ 2937953 w 2937953"/>
                <a:gd name="connsiteY0" fmla="*/ 0 h 2052111"/>
                <a:gd name="connsiteX1" fmla="*/ 0 w 2937953"/>
                <a:gd name="connsiteY1" fmla="*/ 7081 h 2052111"/>
                <a:gd name="connsiteX2" fmla="*/ 1552 w 2937953"/>
                <a:gd name="connsiteY2" fmla="*/ 1619601 h 2052111"/>
                <a:gd name="connsiteX3" fmla="*/ 608454 w 2937953"/>
                <a:gd name="connsiteY3" fmla="*/ 1624999 h 2052111"/>
                <a:gd name="connsiteX4" fmla="*/ 658139 w 2937953"/>
                <a:gd name="connsiteY4" fmla="*/ 2052111 h 2052111"/>
                <a:gd name="connsiteX5" fmla="*/ 1103739 w 2937953"/>
                <a:gd name="connsiteY5" fmla="*/ 1619601 h 2052111"/>
                <a:gd name="connsiteX6" fmla="*/ 2930394 w 2937953"/>
                <a:gd name="connsiteY6" fmla="*/ 1619601 h 2052111"/>
                <a:gd name="connsiteX7" fmla="*/ 2937953 w 2937953"/>
                <a:gd name="connsiteY7" fmla="*/ 0 h 2052111"/>
                <a:gd name="connsiteX0" fmla="*/ 2937953 w 2937953"/>
                <a:gd name="connsiteY0" fmla="*/ 0 h 2057509"/>
                <a:gd name="connsiteX1" fmla="*/ 0 w 2937953"/>
                <a:gd name="connsiteY1" fmla="*/ 7081 h 2057509"/>
                <a:gd name="connsiteX2" fmla="*/ 1552 w 2937953"/>
                <a:gd name="connsiteY2" fmla="*/ 1619601 h 2057509"/>
                <a:gd name="connsiteX3" fmla="*/ 608454 w 2937953"/>
                <a:gd name="connsiteY3" fmla="*/ 1624999 h 2057509"/>
                <a:gd name="connsiteX4" fmla="*/ 857864 w 2937953"/>
                <a:gd name="connsiteY4" fmla="*/ 2057509 h 2057509"/>
                <a:gd name="connsiteX5" fmla="*/ 1103739 w 2937953"/>
                <a:gd name="connsiteY5" fmla="*/ 1619601 h 2057509"/>
                <a:gd name="connsiteX6" fmla="*/ 2930394 w 2937953"/>
                <a:gd name="connsiteY6" fmla="*/ 1619601 h 2057509"/>
                <a:gd name="connsiteX7" fmla="*/ 2937953 w 2937953"/>
                <a:gd name="connsiteY7" fmla="*/ 0 h 2057509"/>
                <a:gd name="connsiteX0" fmla="*/ 2937953 w 2937953"/>
                <a:gd name="connsiteY0" fmla="*/ 0 h 1992733"/>
                <a:gd name="connsiteX1" fmla="*/ 0 w 2937953"/>
                <a:gd name="connsiteY1" fmla="*/ 7081 h 1992733"/>
                <a:gd name="connsiteX2" fmla="*/ 1552 w 2937953"/>
                <a:gd name="connsiteY2" fmla="*/ 1619601 h 1992733"/>
                <a:gd name="connsiteX3" fmla="*/ 608454 w 2937953"/>
                <a:gd name="connsiteY3" fmla="*/ 1624999 h 1992733"/>
                <a:gd name="connsiteX4" fmla="*/ 863265 w 2937953"/>
                <a:gd name="connsiteY4" fmla="*/ 1992733 h 1992733"/>
                <a:gd name="connsiteX5" fmla="*/ 1103739 w 2937953"/>
                <a:gd name="connsiteY5" fmla="*/ 1619601 h 1992733"/>
                <a:gd name="connsiteX6" fmla="*/ 2930394 w 2937953"/>
                <a:gd name="connsiteY6" fmla="*/ 1619601 h 1992733"/>
                <a:gd name="connsiteX7" fmla="*/ 2937953 w 2937953"/>
                <a:gd name="connsiteY7" fmla="*/ 0 h 199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7953" h="1992733">
                  <a:moveTo>
                    <a:pt x="2937953" y="0"/>
                  </a:moveTo>
                  <a:lnTo>
                    <a:pt x="0" y="7081"/>
                  </a:lnTo>
                  <a:cubicBezTo>
                    <a:pt x="517" y="544588"/>
                    <a:pt x="1035" y="1082094"/>
                    <a:pt x="1552" y="1619601"/>
                  </a:cubicBezTo>
                  <a:lnTo>
                    <a:pt x="608454" y="1624999"/>
                  </a:lnTo>
                  <a:lnTo>
                    <a:pt x="863265" y="1992733"/>
                  </a:lnTo>
                  <a:lnTo>
                    <a:pt x="1103739" y="1619601"/>
                  </a:lnTo>
                  <a:lnTo>
                    <a:pt x="2930394" y="1619601"/>
                  </a:lnTo>
                  <a:cubicBezTo>
                    <a:pt x="2930394" y="1097949"/>
                    <a:pt x="2937953" y="521652"/>
                    <a:pt x="2937953" y="0"/>
                  </a:cubicBezTo>
                  <a:close/>
                </a:path>
              </a:pathLst>
            </a:custGeom>
            <a:solidFill>
              <a:schemeClr val="accent3"/>
            </a:solidFill>
          </p:spPr>
          <p:txBody>
            <a:bodyPr wrap="square" lIns="0" tIns="0" rIns="0" bIns="0" rtlCol="0"/>
            <a:lstStyle/>
            <a:p>
              <a:pPr algn="l" rtl="0"/>
              <a:endParaRPr>
                <a:latin typeface="Tahoma" panose="020B0604030504040204" pitchFamily="34" charset="0"/>
                <a:ea typeface="Tahoma" panose="020B0604030504040204" pitchFamily="34" charset="0"/>
                <a:cs typeface="Tahoma" panose="020B0604030504040204" pitchFamily="34" charset="0"/>
              </a:endParaRPr>
            </a:p>
          </p:txBody>
        </p:sp>
        <p:grpSp>
          <p:nvGrpSpPr>
            <p:cNvPr id="15" name="Group 14">
              <a:extLst>
                <a:ext uri="{FF2B5EF4-FFF2-40B4-BE49-F238E27FC236}">
                  <a16:creationId xmlns:a16="http://schemas.microsoft.com/office/drawing/2014/main" id="{0113AE9A-7B25-A314-BC28-83C1AD5DD7BC}"/>
                </a:ext>
              </a:extLst>
            </p:cNvPr>
            <p:cNvGrpSpPr/>
            <p:nvPr/>
          </p:nvGrpSpPr>
          <p:grpSpPr>
            <a:xfrm rot="5400000">
              <a:off x="16767017" y="8845707"/>
              <a:ext cx="1165467" cy="269801"/>
              <a:chOff x="3346450" y="2637355"/>
              <a:chExt cx="1481234" cy="342900"/>
            </a:xfrm>
          </p:grpSpPr>
          <p:pic>
            <p:nvPicPr>
              <p:cNvPr id="16" name="Graphic 15">
                <a:extLst>
                  <a:ext uri="{FF2B5EF4-FFF2-40B4-BE49-F238E27FC236}">
                    <a16:creationId xmlns:a16="http://schemas.microsoft.com/office/drawing/2014/main" id="{75F0C78B-56F9-DCAB-8D57-DD782768121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46450" y="2637355"/>
                <a:ext cx="342900" cy="342900"/>
              </a:xfrm>
              <a:prstGeom prst="rect">
                <a:avLst/>
              </a:prstGeom>
            </p:spPr>
          </p:pic>
          <p:pic>
            <p:nvPicPr>
              <p:cNvPr id="17" name="Graphic 16">
                <a:extLst>
                  <a:ext uri="{FF2B5EF4-FFF2-40B4-BE49-F238E27FC236}">
                    <a16:creationId xmlns:a16="http://schemas.microsoft.com/office/drawing/2014/main" id="{97826A94-A31A-D85C-5C34-E0F9ACFFBC6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915617" y="2637355"/>
                <a:ext cx="342900" cy="342900"/>
              </a:xfrm>
              <a:prstGeom prst="rect">
                <a:avLst/>
              </a:prstGeom>
            </p:spPr>
          </p:pic>
          <p:pic>
            <p:nvPicPr>
              <p:cNvPr id="18" name="Graphic 17">
                <a:extLst>
                  <a:ext uri="{FF2B5EF4-FFF2-40B4-BE49-F238E27FC236}">
                    <a16:creationId xmlns:a16="http://schemas.microsoft.com/office/drawing/2014/main" id="{70D4F9A5-607A-DD04-369E-0FAB8119FA1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84784" y="2637355"/>
                <a:ext cx="342900" cy="342900"/>
              </a:xfrm>
              <a:prstGeom prst="rect">
                <a:avLst/>
              </a:prstGeom>
            </p:spPr>
          </p:pic>
        </p:grpSp>
      </p:grpSp>
      <p:grpSp>
        <p:nvGrpSpPr>
          <p:cNvPr id="19" name="Group 18">
            <a:extLst>
              <a:ext uri="{FF2B5EF4-FFF2-40B4-BE49-F238E27FC236}">
                <a16:creationId xmlns:a16="http://schemas.microsoft.com/office/drawing/2014/main" id="{F7EB1CA7-E46E-5AA1-BA29-2FE2B6306E18}"/>
              </a:ext>
            </a:extLst>
          </p:cNvPr>
          <p:cNvGrpSpPr/>
          <p:nvPr userDrawn="1"/>
        </p:nvGrpSpPr>
        <p:grpSpPr>
          <a:xfrm>
            <a:off x="17062450" y="1158875"/>
            <a:ext cx="1444643" cy="2239273"/>
            <a:chOff x="15486784" y="1129402"/>
            <a:chExt cx="1444643" cy="2239273"/>
          </a:xfrm>
        </p:grpSpPr>
        <p:sp>
          <p:nvSpPr>
            <p:cNvPr id="20" name="Graphic 19">
              <a:extLst>
                <a:ext uri="{FF2B5EF4-FFF2-40B4-BE49-F238E27FC236}">
                  <a16:creationId xmlns:a16="http://schemas.microsoft.com/office/drawing/2014/main" id="{C448AC5F-3E10-9B5C-BE80-A092C60C2010}"/>
                </a:ext>
              </a:extLst>
            </p:cNvPr>
            <p:cNvSpPr/>
            <p:nvPr/>
          </p:nvSpPr>
          <p:spPr>
            <a:xfrm>
              <a:off x="15486784" y="1129402"/>
              <a:ext cx="1444643" cy="2239273"/>
            </a:xfrm>
            <a:custGeom>
              <a:avLst/>
              <a:gdLst>
                <a:gd name="connsiteX0" fmla="*/ 1447475 w 1447474"/>
                <a:gd name="connsiteY0" fmla="*/ 1560269 h 1560269"/>
                <a:gd name="connsiteX1" fmla="*/ 0 w 1447474"/>
                <a:gd name="connsiteY1" fmla="*/ 1560269 h 1560269"/>
                <a:gd name="connsiteX2" fmla="*/ 0 w 1447474"/>
                <a:gd name="connsiteY2" fmla="*/ 729393 h 1560269"/>
                <a:gd name="connsiteX3" fmla="*/ 723737 w 1447474"/>
                <a:gd name="connsiteY3" fmla="*/ 0 h 1560269"/>
                <a:gd name="connsiteX4" fmla="*/ 1447475 w 1447474"/>
                <a:gd name="connsiteY4" fmla="*/ 729393 h 1560269"/>
                <a:gd name="connsiteX5" fmla="*/ 1447475 w 1447474"/>
                <a:gd name="connsiteY5" fmla="*/ 1560269 h 1560269"/>
                <a:gd name="connsiteX0" fmla="*/ 1447475 w 1447475"/>
                <a:gd name="connsiteY0" fmla="*/ 2243663 h 2243663"/>
                <a:gd name="connsiteX1" fmla="*/ 0 w 1447475"/>
                <a:gd name="connsiteY1" fmla="*/ 1560269 h 2243663"/>
                <a:gd name="connsiteX2" fmla="*/ 0 w 1447475"/>
                <a:gd name="connsiteY2" fmla="*/ 729393 h 2243663"/>
                <a:gd name="connsiteX3" fmla="*/ 723737 w 1447475"/>
                <a:gd name="connsiteY3" fmla="*/ 0 h 2243663"/>
                <a:gd name="connsiteX4" fmla="*/ 1447475 w 1447475"/>
                <a:gd name="connsiteY4" fmla="*/ 729393 h 2243663"/>
                <a:gd name="connsiteX5" fmla="*/ 1447475 w 1447475"/>
                <a:gd name="connsiteY5" fmla="*/ 2243663 h 2243663"/>
                <a:gd name="connsiteX0" fmla="*/ 1447475 w 1447475"/>
                <a:gd name="connsiteY0" fmla="*/ 2243663 h 2243663"/>
                <a:gd name="connsiteX1" fmla="*/ 9625 w 1447475"/>
                <a:gd name="connsiteY1" fmla="*/ 2243662 h 2243663"/>
                <a:gd name="connsiteX2" fmla="*/ 0 w 1447475"/>
                <a:gd name="connsiteY2" fmla="*/ 729393 h 2243663"/>
                <a:gd name="connsiteX3" fmla="*/ 723737 w 1447475"/>
                <a:gd name="connsiteY3" fmla="*/ 0 h 2243663"/>
                <a:gd name="connsiteX4" fmla="*/ 1447475 w 1447475"/>
                <a:gd name="connsiteY4" fmla="*/ 729393 h 2243663"/>
                <a:gd name="connsiteX5" fmla="*/ 1447475 w 1447475"/>
                <a:gd name="connsiteY5" fmla="*/ 2243663 h 224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7475" h="2243663">
                  <a:moveTo>
                    <a:pt x="1447475" y="2243663"/>
                  </a:moveTo>
                  <a:lnTo>
                    <a:pt x="9625" y="2243662"/>
                  </a:lnTo>
                  <a:cubicBezTo>
                    <a:pt x="6417" y="1738906"/>
                    <a:pt x="3208" y="1234149"/>
                    <a:pt x="0" y="729393"/>
                  </a:cubicBezTo>
                  <a:cubicBezTo>
                    <a:pt x="0" y="326579"/>
                    <a:pt x="324047" y="0"/>
                    <a:pt x="723737" y="0"/>
                  </a:cubicBezTo>
                  <a:cubicBezTo>
                    <a:pt x="1123428" y="0"/>
                    <a:pt x="1447475" y="326579"/>
                    <a:pt x="1447475" y="729393"/>
                  </a:cubicBezTo>
                  <a:lnTo>
                    <a:pt x="1447475" y="2243663"/>
                  </a:lnTo>
                  <a:close/>
                </a:path>
              </a:pathLst>
            </a:custGeom>
            <a:solidFill>
              <a:schemeClr val="accent4"/>
            </a:solidFill>
            <a:ln w="16267" cap="flat">
              <a:noFill/>
              <a:prstDash val="solid"/>
              <a:miter/>
            </a:ln>
          </p:spPr>
          <p:txBody>
            <a:bodyPr rtlCol="0" anchor="ctr"/>
            <a:lstStyle/>
            <a:p>
              <a:pPr algn="l" rtl="0"/>
              <a:endParaRPr lang="en-AE"/>
            </a:p>
          </p:txBody>
        </p:sp>
        <p:pic>
          <p:nvPicPr>
            <p:cNvPr id="21" name="Graphic 20">
              <a:extLst>
                <a:ext uri="{FF2B5EF4-FFF2-40B4-BE49-F238E27FC236}">
                  <a16:creationId xmlns:a16="http://schemas.microsoft.com/office/drawing/2014/main" id="{4FAEC23D-4A6E-D7CA-76C1-84554B98DA8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801142">
              <a:off x="15826581" y="2144891"/>
              <a:ext cx="765048" cy="649401"/>
            </a:xfrm>
            <a:prstGeom prst="rect">
              <a:avLst/>
            </a:prstGeom>
          </p:spPr>
        </p:pic>
      </p:grpSp>
    </p:spTree>
    <p:extLst>
      <p:ext uri="{BB962C8B-B14F-4D97-AF65-F5344CB8AC3E}">
        <p14:creationId xmlns:p14="http://schemas.microsoft.com/office/powerpoint/2010/main" val="5534374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page - with quote">
    <p:bg>
      <p:bgPr>
        <a:solidFill>
          <a:schemeClr val="accent5">
            <a:lumMod val="60000"/>
            <a:lumOff val="40000"/>
          </a:schemeClr>
        </a:solidFill>
        <a:effectLst/>
      </p:bgPr>
    </p:bg>
    <p:spTree>
      <p:nvGrpSpPr>
        <p:cNvPr id="1" name=""/>
        <p:cNvGrpSpPr/>
        <p:nvPr/>
      </p:nvGrpSpPr>
      <p:grpSpPr>
        <a:xfrm>
          <a:off x="0" y="0"/>
          <a:ext cx="0" cy="0"/>
          <a:chOff x="0" y="0"/>
          <a:chExt cx="0" cy="0"/>
        </a:xfrm>
      </p:grpSpPr>
      <p:grpSp>
        <p:nvGrpSpPr>
          <p:cNvPr id="5" name="object 3">
            <a:extLst>
              <a:ext uri="{FF2B5EF4-FFF2-40B4-BE49-F238E27FC236}">
                <a16:creationId xmlns:a16="http://schemas.microsoft.com/office/drawing/2014/main" id="{F7F2EF52-F49D-35AA-F9C7-027F6122C9FF}"/>
              </a:ext>
            </a:extLst>
          </p:cNvPr>
          <p:cNvGrpSpPr/>
          <p:nvPr userDrawn="1"/>
        </p:nvGrpSpPr>
        <p:grpSpPr>
          <a:xfrm>
            <a:off x="11729860" y="2962429"/>
            <a:ext cx="6362065" cy="8346440"/>
            <a:chOff x="11729860" y="2962429"/>
            <a:chExt cx="6362065" cy="8346440"/>
          </a:xfrm>
        </p:grpSpPr>
        <p:sp>
          <p:nvSpPr>
            <p:cNvPr id="6" name="object 4">
              <a:extLst>
                <a:ext uri="{FF2B5EF4-FFF2-40B4-BE49-F238E27FC236}">
                  <a16:creationId xmlns:a16="http://schemas.microsoft.com/office/drawing/2014/main" id="{3B2A4CA3-9121-C6AB-38BA-17FD4B8B8874}"/>
                </a:ext>
              </a:extLst>
            </p:cNvPr>
            <p:cNvSpPr/>
            <p:nvPr/>
          </p:nvSpPr>
          <p:spPr>
            <a:xfrm>
              <a:off x="11729860" y="2962429"/>
              <a:ext cx="5542280" cy="8346440"/>
            </a:xfrm>
            <a:custGeom>
              <a:avLst/>
              <a:gdLst/>
              <a:ahLst/>
              <a:cxnLst/>
              <a:rect l="l" t="t" r="r" b="b"/>
              <a:pathLst>
                <a:path w="5542280" h="8346440">
                  <a:moveTo>
                    <a:pt x="2771098" y="0"/>
                  </a:moveTo>
                  <a:lnTo>
                    <a:pt x="2722856" y="411"/>
                  </a:lnTo>
                  <a:lnTo>
                    <a:pt x="2674824" y="1640"/>
                  </a:lnTo>
                  <a:lnTo>
                    <a:pt x="2626997" y="3681"/>
                  </a:lnTo>
                  <a:lnTo>
                    <a:pt x="2579383" y="6527"/>
                  </a:lnTo>
                  <a:lnTo>
                    <a:pt x="2531989" y="10171"/>
                  </a:lnTo>
                  <a:lnTo>
                    <a:pt x="2484820" y="14607"/>
                  </a:lnTo>
                  <a:lnTo>
                    <a:pt x="2437884" y="19827"/>
                  </a:lnTo>
                  <a:lnTo>
                    <a:pt x="2391187" y="25826"/>
                  </a:lnTo>
                  <a:lnTo>
                    <a:pt x="2344736" y="32596"/>
                  </a:lnTo>
                  <a:lnTo>
                    <a:pt x="2298537" y="40131"/>
                  </a:lnTo>
                  <a:lnTo>
                    <a:pt x="2252598" y="48425"/>
                  </a:lnTo>
                  <a:lnTo>
                    <a:pt x="2206924" y="57470"/>
                  </a:lnTo>
                  <a:lnTo>
                    <a:pt x="2161523" y="67260"/>
                  </a:lnTo>
                  <a:lnTo>
                    <a:pt x="2116401" y="77788"/>
                  </a:lnTo>
                  <a:lnTo>
                    <a:pt x="2071565" y="89048"/>
                  </a:lnTo>
                  <a:lnTo>
                    <a:pt x="2027021" y="101033"/>
                  </a:lnTo>
                  <a:lnTo>
                    <a:pt x="1982777" y="113737"/>
                  </a:lnTo>
                  <a:lnTo>
                    <a:pt x="1938838" y="127152"/>
                  </a:lnTo>
                  <a:lnTo>
                    <a:pt x="1895212" y="141272"/>
                  </a:lnTo>
                  <a:lnTo>
                    <a:pt x="1851904" y="156090"/>
                  </a:lnTo>
                  <a:lnTo>
                    <a:pt x="1808923" y="171601"/>
                  </a:lnTo>
                  <a:lnTo>
                    <a:pt x="1766274" y="187796"/>
                  </a:lnTo>
                  <a:lnTo>
                    <a:pt x="1723964" y="204670"/>
                  </a:lnTo>
                  <a:lnTo>
                    <a:pt x="1681999" y="222215"/>
                  </a:lnTo>
                  <a:lnTo>
                    <a:pt x="1640387" y="240426"/>
                  </a:lnTo>
                  <a:lnTo>
                    <a:pt x="1599134" y="259295"/>
                  </a:lnTo>
                  <a:lnTo>
                    <a:pt x="1558247" y="278816"/>
                  </a:lnTo>
                  <a:lnTo>
                    <a:pt x="1517731" y="298982"/>
                  </a:lnTo>
                  <a:lnTo>
                    <a:pt x="1477595" y="319786"/>
                  </a:lnTo>
                  <a:lnTo>
                    <a:pt x="1437845" y="341222"/>
                  </a:lnTo>
                  <a:lnTo>
                    <a:pt x="1398486" y="363284"/>
                  </a:lnTo>
                  <a:lnTo>
                    <a:pt x="1359527" y="385964"/>
                  </a:lnTo>
                  <a:lnTo>
                    <a:pt x="1320973" y="409256"/>
                  </a:lnTo>
                  <a:lnTo>
                    <a:pt x="1282832" y="433153"/>
                  </a:lnTo>
                  <a:lnTo>
                    <a:pt x="1245109" y="457648"/>
                  </a:lnTo>
                  <a:lnTo>
                    <a:pt x="1207812" y="482736"/>
                  </a:lnTo>
                  <a:lnTo>
                    <a:pt x="1170947" y="508409"/>
                  </a:lnTo>
                  <a:lnTo>
                    <a:pt x="1134521" y="534660"/>
                  </a:lnTo>
                  <a:lnTo>
                    <a:pt x="1098541" y="561484"/>
                  </a:lnTo>
                  <a:lnTo>
                    <a:pt x="1063013" y="588872"/>
                  </a:lnTo>
                  <a:lnTo>
                    <a:pt x="1027943" y="616820"/>
                  </a:lnTo>
                  <a:lnTo>
                    <a:pt x="993339" y="645319"/>
                  </a:lnTo>
                  <a:lnTo>
                    <a:pt x="959207" y="674364"/>
                  </a:lnTo>
                  <a:lnTo>
                    <a:pt x="925554" y="703947"/>
                  </a:lnTo>
                  <a:lnTo>
                    <a:pt x="892386" y="734062"/>
                  </a:lnTo>
                  <a:lnTo>
                    <a:pt x="859711" y="764703"/>
                  </a:lnTo>
                  <a:lnTo>
                    <a:pt x="827534" y="795862"/>
                  </a:lnTo>
                  <a:lnTo>
                    <a:pt x="795862" y="827534"/>
                  </a:lnTo>
                  <a:lnTo>
                    <a:pt x="764703" y="859711"/>
                  </a:lnTo>
                  <a:lnTo>
                    <a:pt x="734062" y="892386"/>
                  </a:lnTo>
                  <a:lnTo>
                    <a:pt x="703947" y="925554"/>
                  </a:lnTo>
                  <a:lnTo>
                    <a:pt x="674364" y="959207"/>
                  </a:lnTo>
                  <a:lnTo>
                    <a:pt x="645319" y="993339"/>
                  </a:lnTo>
                  <a:lnTo>
                    <a:pt x="616820" y="1027943"/>
                  </a:lnTo>
                  <a:lnTo>
                    <a:pt x="588872" y="1063013"/>
                  </a:lnTo>
                  <a:lnTo>
                    <a:pt x="561484" y="1098541"/>
                  </a:lnTo>
                  <a:lnTo>
                    <a:pt x="534660" y="1134521"/>
                  </a:lnTo>
                  <a:lnTo>
                    <a:pt x="508409" y="1170947"/>
                  </a:lnTo>
                  <a:lnTo>
                    <a:pt x="482736" y="1207812"/>
                  </a:lnTo>
                  <a:lnTo>
                    <a:pt x="457648" y="1245109"/>
                  </a:lnTo>
                  <a:lnTo>
                    <a:pt x="433153" y="1282832"/>
                  </a:lnTo>
                  <a:lnTo>
                    <a:pt x="409256" y="1320973"/>
                  </a:lnTo>
                  <a:lnTo>
                    <a:pt x="385964" y="1359527"/>
                  </a:lnTo>
                  <a:lnTo>
                    <a:pt x="363284" y="1398486"/>
                  </a:lnTo>
                  <a:lnTo>
                    <a:pt x="341222" y="1437845"/>
                  </a:lnTo>
                  <a:lnTo>
                    <a:pt x="319786" y="1477595"/>
                  </a:lnTo>
                  <a:lnTo>
                    <a:pt x="298982" y="1517731"/>
                  </a:lnTo>
                  <a:lnTo>
                    <a:pt x="278816" y="1558247"/>
                  </a:lnTo>
                  <a:lnTo>
                    <a:pt x="259295" y="1599134"/>
                  </a:lnTo>
                  <a:lnTo>
                    <a:pt x="240426" y="1640387"/>
                  </a:lnTo>
                  <a:lnTo>
                    <a:pt x="222215" y="1681999"/>
                  </a:lnTo>
                  <a:lnTo>
                    <a:pt x="204670" y="1723964"/>
                  </a:lnTo>
                  <a:lnTo>
                    <a:pt x="187796" y="1766274"/>
                  </a:lnTo>
                  <a:lnTo>
                    <a:pt x="171601" y="1808923"/>
                  </a:lnTo>
                  <a:lnTo>
                    <a:pt x="156090" y="1851904"/>
                  </a:lnTo>
                  <a:lnTo>
                    <a:pt x="141272" y="1895212"/>
                  </a:lnTo>
                  <a:lnTo>
                    <a:pt x="127152" y="1938838"/>
                  </a:lnTo>
                  <a:lnTo>
                    <a:pt x="113737" y="1982777"/>
                  </a:lnTo>
                  <a:lnTo>
                    <a:pt x="101033" y="2027021"/>
                  </a:lnTo>
                  <a:lnTo>
                    <a:pt x="89048" y="2071565"/>
                  </a:lnTo>
                  <a:lnTo>
                    <a:pt x="77788" y="2116401"/>
                  </a:lnTo>
                  <a:lnTo>
                    <a:pt x="67260" y="2161523"/>
                  </a:lnTo>
                  <a:lnTo>
                    <a:pt x="57470" y="2206924"/>
                  </a:lnTo>
                  <a:lnTo>
                    <a:pt x="48425" y="2252598"/>
                  </a:lnTo>
                  <a:lnTo>
                    <a:pt x="40131" y="2298537"/>
                  </a:lnTo>
                  <a:lnTo>
                    <a:pt x="32596" y="2344736"/>
                  </a:lnTo>
                  <a:lnTo>
                    <a:pt x="25826" y="2391187"/>
                  </a:lnTo>
                  <a:lnTo>
                    <a:pt x="19827" y="2437884"/>
                  </a:lnTo>
                  <a:lnTo>
                    <a:pt x="14607" y="2484820"/>
                  </a:lnTo>
                  <a:lnTo>
                    <a:pt x="10171" y="2531989"/>
                  </a:lnTo>
                  <a:lnTo>
                    <a:pt x="6527" y="2579383"/>
                  </a:lnTo>
                  <a:lnTo>
                    <a:pt x="3681" y="2626997"/>
                  </a:lnTo>
                  <a:lnTo>
                    <a:pt x="1640" y="2674824"/>
                  </a:lnTo>
                  <a:lnTo>
                    <a:pt x="411" y="2722856"/>
                  </a:lnTo>
                  <a:lnTo>
                    <a:pt x="0" y="2771088"/>
                  </a:lnTo>
                  <a:lnTo>
                    <a:pt x="0" y="8346122"/>
                  </a:lnTo>
                  <a:lnTo>
                    <a:pt x="5542197" y="8346122"/>
                  </a:lnTo>
                  <a:lnTo>
                    <a:pt x="5542197" y="2771088"/>
                  </a:lnTo>
                  <a:lnTo>
                    <a:pt x="5541786" y="2722856"/>
                  </a:lnTo>
                  <a:lnTo>
                    <a:pt x="5540556" y="2674824"/>
                  </a:lnTo>
                  <a:lnTo>
                    <a:pt x="5538516" y="2626997"/>
                  </a:lnTo>
                  <a:lnTo>
                    <a:pt x="5535670" y="2579383"/>
                  </a:lnTo>
                  <a:lnTo>
                    <a:pt x="5532026" y="2531989"/>
                  </a:lnTo>
                  <a:lnTo>
                    <a:pt x="5527590" y="2484820"/>
                  </a:lnTo>
                  <a:lnTo>
                    <a:pt x="5522370" y="2437884"/>
                  </a:lnTo>
                  <a:lnTo>
                    <a:pt x="5516371" y="2391187"/>
                  </a:lnTo>
                  <a:lnTo>
                    <a:pt x="5509601" y="2344736"/>
                  </a:lnTo>
                  <a:lnTo>
                    <a:pt x="5502066" y="2298537"/>
                  </a:lnTo>
                  <a:lnTo>
                    <a:pt x="5493772" y="2252598"/>
                  </a:lnTo>
                  <a:lnTo>
                    <a:pt x="5484727" y="2206924"/>
                  </a:lnTo>
                  <a:lnTo>
                    <a:pt x="5474937" y="2161523"/>
                  </a:lnTo>
                  <a:lnTo>
                    <a:pt x="5464409" y="2116401"/>
                  </a:lnTo>
                  <a:lnTo>
                    <a:pt x="5453149" y="2071565"/>
                  </a:lnTo>
                  <a:lnTo>
                    <a:pt x="5441164" y="2027021"/>
                  </a:lnTo>
                  <a:lnTo>
                    <a:pt x="5428461" y="1982777"/>
                  </a:lnTo>
                  <a:lnTo>
                    <a:pt x="5415046" y="1938838"/>
                  </a:lnTo>
                  <a:lnTo>
                    <a:pt x="5400926" y="1895212"/>
                  </a:lnTo>
                  <a:lnTo>
                    <a:pt x="5386107" y="1851904"/>
                  </a:lnTo>
                  <a:lnTo>
                    <a:pt x="5370597" y="1808923"/>
                  </a:lnTo>
                  <a:lnTo>
                    <a:pt x="5354402" y="1766274"/>
                  </a:lnTo>
                  <a:lnTo>
                    <a:pt x="5337528" y="1723964"/>
                  </a:lnTo>
                  <a:lnTo>
                    <a:pt x="5319983" y="1681999"/>
                  </a:lnTo>
                  <a:lnTo>
                    <a:pt x="5301772" y="1640387"/>
                  </a:lnTo>
                  <a:lnTo>
                    <a:pt x="5282904" y="1599134"/>
                  </a:lnTo>
                  <a:lnTo>
                    <a:pt x="5263383" y="1558247"/>
                  </a:lnTo>
                  <a:lnTo>
                    <a:pt x="5243217" y="1517731"/>
                  </a:lnTo>
                  <a:lnTo>
                    <a:pt x="5222413" y="1477595"/>
                  </a:lnTo>
                  <a:lnTo>
                    <a:pt x="5200976" y="1437845"/>
                  </a:lnTo>
                  <a:lnTo>
                    <a:pt x="5178915" y="1398486"/>
                  </a:lnTo>
                  <a:lnTo>
                    <a:pt x="5156235" y="1359527"/>
                  </a:lnTo>
                  <a:lnTo>
                    <a:pt x="5132943" y="1320973"/>
                  </a:lnTo>
                  <a:lnTo>
                    <a:pt x="5109046" y="1282832"/>
                  </a:lnTo>
                  <a:lnTo>
                    <a:pt x="5084550" y="1245109"/>
                  </a:lnTo>
                  <a:lnTo>
                    <a:pt x="5059463" y="1207812"/>
                  </a:lnTo>
                  <a:lnTo>
                    <a:pt x="5033790" y="1170947"/>
                  </a:lnTo>
                  <a:lnTo>
                    <a:pt x="5007539" y="1134521"/>
                  </a:lnTo>
                  <a:lnTo>
                    <a:pt x="4980715" y="1098541"/>
                  </a:lnTo>
                  <a:lnTo>
                    <a:pt x="4953327" y="1063013"/>
                  </a:lnTo>
                  <a:lnTo>
                    <a:pt x="4925380" y="1027943"/>
                  </a:lnTo>
                  <a:lnTo>
                    <a:pt x="4896880" y="993339"/>
                  </a:lnTo>
                  <a:lnTo>
                    <a:pt x="4867836" y="959207"/>
                  </a:lnTo>
                  <a:lnTo>
                    <a:pt x="4838252" y="925554"/>
                  </a:lnTo>
                  <a:lnTo>
                    <a:pt x="4808137" y="892386"/>
                  </a:lnTo>
                  <a:lnTo>
                    <a:pt x="4777496" y="859711"/>
                  </a:lnTo>
                  <a:lnTo>
                    <a:pt x="4746337" y="827534"/>
                  </a:lnTo>
                  <a:lnTo>
                    <a:pt x="4714666" y="795862"/>
                  </a:lnTo>
                  <a:lnTo>
                    <a:pt x="4682489" y="764703"/>
                  </a:lnTo>
                  <a:lnTo>
                    <a:pt x="4649813" y="734062"/>
                  </a:lnTo>
                  <a:lnTo>
                    <a:pt x="4616645" y="703947"/>
                  </a:lnTo>
                  <a:lnTo>
                    <a:pt x="4582992" y="674364"/>
                  </a:lnTo>
                  <a:lnTo>
                    <a:pt x="4548860" y="645319"/>
                  </a:lnTo>
                  <a:lnTo>
                    <a:pt x="4514256" y="616820"/>
                  </a:lnTo>
                  <a:lnTo>
                    <a:pt x="4479187" y="588872"/>
                  </a:lnTo>
                  <a:lnTo>
                    <a:pt x="4443658" y="561484"/>
                  </a:lnTo>
                  <a:lnTo>
                    <a:pt x="4407678" y="534660"/>
                  </a:lnTo>
                  <a:lnTo>
                    <a:pt x="4371252" y="508409"/>
                  </a:lnTo>
                  <a:lnTo>
                    <a:pt x="4334387" y="482736"/>
                  </a:lnTo>
                  <a:lnTo>
                    <a:pt x="4297089" y="457648"/>
                  </a:lnTo>
                  <a:lnTo>
                    <a:pt x="4259367" y="433153"/>
                  </a:lnTo>
                  <a:lnTo>
                    <a:pt x="4221225" y="409256"/>
                  </a:lnTo>
                  <a:lnTo>
                    <a:pt x="4182671" y="385964"/>
                  </a:lnTo>
                  <a:lnTo>
                    <a:pt x="4143712" y="363284"/>
                  </a:lnTo>
                  <a:lnTo>
                    <a:pt x="4104353" y="341222"/>
                  </a:lnTo>
                  <a:lnTo>
                    <a:pt x="4064603" y="319786"/>
                  </a:lnTo>
                  <a:lnTo>
                    <a:pt x="4024466" y="298982"/>
                  </a:lnTo>
                  <a:lnTo>
                    <a:pt x="3983951" y="278816"/>
                  </a:lnTo>
                  <a:lnTo>
                    <a:pt x="3943063" y="259295"/>
                  </a:lnTo>
                  <a:lnTo>
                    <a:pt x="3901810" y="240426"/>
                  </a:lnTo>
                  <a:lnTo>
                    <a:pt x="3860198" y="222215"/>
                  </a:lnTo>
                  <a:lnTo>
                    <a:pt x="3818233" y="204670"/>
                  </a:lnTo>
                  <a:lnTo>
                    <a:pt x="3775923" y="187796"/>
                  </a:lnTo>
                  <a:lnTo>
                    <a:pt x="3733273" y="171601"/>
                  </a:lnTo>
                  <a:lnTo>
                    <a:pt x="3690291" y="156090"/>
                  </a:lnTo>
                  <a:lnTo>
                    <a:pt x="3646984" y="141272"/>
                  </a:lnTo>
                  <a:lnTo>
                    <a:pt x="3603357" y="127152"/>
                  </a:lnTo>
                  <a:lnTo>
                    <a:pt x="3559418" y="113737"/>
                  </a:lnTo>
                  <a:lnTo>
                    <a:pt x="3515173" y="101033"/>
                  </a:lnTo>
                  <a:lnTo>
                    <a:pt x="3470629" y="89048"/>
                  </a:lnTo>
                  <a:lnTo>
                    <a:pt x="3425793" y="77788"/>
                  </a:lnTo>
                  <a:lnTo>
                    <a:pt x="3380670" y="67260"/>
                  </a:lnTo>
                  <a:lnTo>
                    <a:pt x="3335269" y="57470"/>
                  </a:lnTo>
                  <a:lnTo>
                    <a:pt x="3289595" y="48425"/>
                  </a:lnTo>
                  <a:lnTo>
                    <a:pt x="3243655" y="40131"/>
                  </a:lnTo>
                  <a:lnTo>
                    <a:pt x="3197456" y="32596"/>
                  </a:lnTo>
                  <a:lnTo>
                    <a:pt x="3151004" y="25826"/>
                  </a:lnTo>
                  <a:lnTo>
                    <a:pt x="3104307" y="19827"/>
                  </a:lnTo>
                  <a:lnTo>
                    <a:pt x="3057370" y="14607"/>
                  </a:lnTo>
                  <a:lnTo>
                    <a:pt x="3010201" y="10171"/>
                  </a:lnTo>
                  <a:lnTo>
                    <a:pt x="2962806" y="6527"/>
                  </a:lnTo>
                  <a:lnTo>
                    <a:pt x="2915191" y="3681"/>
                  </a:lnTo>
                  <a:lnTo>
                    <a:pt x="2867364" y="1640"/>
                  </a:lnTo>
                  <a:lnTo>
                    <a:pt x="2819331" y="411"/>
                  </a:lnTo>
                  <a:lnTo>
                    <a:pt x="2771098" y="0"/>
                  </a:lnTo>
                  <a:close/>
                </a:path>
              </a:pathLst>
            </a:custGeom>
            <a:solidFill>
              <a:srgbClr val="FFFFFF"/>
            </a:solidFill>
          </p:spPr>
          <p:txBody>
            <a:bodyPr wrap="square" lIns="0" tIns="0" rIns="0" bIns="0" rtlCol="0"/>
            <a:lstStyle/>
            <a:p>
              <a:endParaRPr/>
            </a:p>
          </p:txBody>
        </p:sp>
        <p:sp>
          <p:nvSpPr>
            <p:cNvPr id="7" name="object 5">
              <a:extLst>
                <a:ext uri="{FF2B5EF4-FFF2-40B4-BE49-F238E27FC236}">
                  <a16:creationId xmlns:a16="http://schemas.microsoft.com/office/drawing/2014/main" id="{5620A95A-A3E1-85E0-8F59-AD0E9A982C2F}"/>
                </a:ext>
              </a:extLst>
            </p:cNvPr>
            <p:cNvSpPr/>
            <p:nvPr/>
          </p:nvSpPr>
          <p:spPr>
            <a:xfrm>
              <a:off x="15738976" y="8488715"/>
              <a:ext cx="2352675" cy="1307465"/>
            </a:xfrm>
            <a:custGeom>
              <a:avLst/>
              <a:gdLst/>
              <a:ahLst/>
              <a:cxnLst/>
              <a:rect l="l" t="t" r="r" b="b"/>
              <a:pathLst>
                <a:path w="2352675" h="1307465">
                  <a:moveTo>
                    <a:pt x="2352441" y="0"/>
                  </a:moveTo>
                  <a:lnTo>
                    <a:pt x="0" y="0"/>
                  </a:lnTo>
                  <a:lnTo>
                    <a:pt x="0" y="1306913"/>
                  </a:lnTo>
                  <a:lnTo>
                    <a:pt x="2352441" y="1306913"/>
                  </a:lnTo>
                  <a:lnTo>
                    <a:pt x="2352441" y="0"/>
                  </a:lnTo>
                  <a:close/>
                </a:path>
              </a:pathLst>
            </a:custGeom>
            <a:solidFill>
              <a:srgbClr val="ECCC4A"/>
            </a:solidFill>
          </p:spPr>
          <p:txBody>
            <a:bodyPr wrap="square" lIns="0" tIns="0" rIns="0" bIns="0" rtlCol="0"/>
            <a:lstStyle/>
            <a:p>
              <a:endParaRPr/>
            </a:p>
          </p:txBody>
        </p:sp>
        <p:pic>
          <p:nvPicPr>
            <p:cNvPr id="8" name="object 6">
              <a:extLst>
                <a:ext uri="{FF2B5EF4-FFF2-40B4-BE49-F238E27FC236}">
                  <a16:creationId xmlns:a16="http://schemas.microsoft.com/office/drawing/2014/main" id="{A9CEE476-4C56-313B-E314-C3191CFEAED2}"/>
                </a:ext>
              </a:extLst>
            </p:cNvPr>
            <p:cNvPicPr/>
            <p:nvPr/>
          </p:nvPicPr>
          <p:blipFill>
            <a:blip r:embed="rId2" cstate="print"/>
            <a:stretch>
              <a:fillRect/>
            </a:stretch>
          </p:blipFill>
          <p:spPr>
            <a:xfrm>
              <a:off x="16380329" y="9026725"/>
              <a:ext cx="230872" cy="230893"/>
            </a:xfrm>
            <a:prstGeom prst="rect">
              <a:avLst/>
            </a:prstGeom>
          </p:spPr>
        </p:pic>
        <p:pic>
          <p:nvPicPr>
            <p:cNvPr id="9" name="object 7">
              <a:extLst>
                <a:ext uri="{FF2B5EF4-FFF2-40B4-BE49-F238E27FC236}">
                  <a16:creationId xmlns:a16="http://schemas.microsoft.com/office/drawing/2014/main" id="{7CDCB284-02D8-DFEA-1D51-E12D08ABC5A4}"/>
                </a:ext>
              </a:extLst>
            </p:cNvPr>
            <p:cNvPicPr/>
            <p:nvPr/>
          </p:nvPicPr>
          <p:blipFill>
            <a:blip r:embed="rId3" cstate="print"/>
            <a:stretch>
              <a:fillRect/>
            </a:stretch>
          </p:blipFill>
          <p:spPr>
            <a:xfrm>
              <a:off x="16799757" y="9026725"/>
              <a:ext cx="230872" cy="230893"/>
            </a:xfrm>
            <a:prstGeom prst="rect">
              <a:avLst/>
            </a:prstGeom>
          </p:spPr>
        </p:pic>
        <p:pic>
          <p:nvPicPr>
            <p:cNvPr id="10" name="object 8">
              <a:extLst>
                <a:ext uri="{FF2B5EF4-FFF2-40B4-BE49-F238E27FC236}">
                  <a16:creationId xmlns:a16="http://schemas.microsoft.com/office/drawing/2014/main" id="{505742A2-356B-B2F6-2FFE-D195DBB55324}"/>
                </a:ext>
              </a:extLst>
            </p:cNvPr>
            <p:cNvPicPr/>
            <p:nvPr/>
          </p:nvPicPr>
          <p:blipFill>
            <a:blip r:embed="rId4" cstate="print"/>
            <a:stretch>
              <a:fillRect/>
            </a:stretch>
          </p:blipFill>
          <p:spPr>
            <a:xfrm>
              <a:off x="17219196" y="9026725"/>
              <a:ext cx="230872" cy="230893"/>
            </a:xfrm>
            <a:prstGeom prst="rect">
              <a:avLst/>
            </a:prstGeom>
          </p:spPr>
        </p:pic>
        <p:sp>
          <p:nvSpPr>
            <p:cNvPr id="11" name="object 9">
              <a:extLst>
                <a:ext uri="{FF2B5EF4-FFF2-40B4-BE49-F238E27FC236}">
                  <a16:creationId xmlns:a16="http://schemas.microsoft.com/office/drawing/2014/main" id="{B2FDB648-473D-C743-8461-33468E1D077D}"/>
                </a:ext>
              </a:extLst>
            </p:cNvPr>
            <p:cNvSpPr/>
            <p:nvPr/>
          </p:nvSpPr>
          <p:spPr>
            <a:xfrm>
              <a:off x="16291966" y="8201613"/>
              <a:ext cx="332105" cy="287655"/>
            </a:xfrm>
            <a:custGeom>
              <a:avLst/>
              <a:gdLst/>
              <a:ahLst/>
              <a:cxnLst/>
              <a:rect l="l" t="t" r="r" b="b"/>
              <a:pathLst>
                <a:path w="332105" h="287654">
                  <a:moveTo>
                    <a:pt x="165806" y="0"/>
                  </a:moveTo>
                  <a:lnTo>
                    <a:pt x="0" y="287205"/>
                  </a:lnTo>
                  <a:lnTo>
                    <a:pt x="331623" y="287205"/>
                  </a:lnTo>
                  <a:lnTo>
                    <a:pt x="165806" y="0"/>
                  </a:lnTo>
                  <a:close/>
                </a:path>
              </a:pathLst>
            </a:custGeom>
            <a:solidFill>
              <a:srgbClr val="ECCC4A"/>
            </a:solidFill>
          </p:spPr>
          <p:txBody>
            <a:bodyPr wrap="square" lIns="0" tIns="0" rIns="0" bIns="0" rtlCol="0"/>
            <a:lstStyle/>
            <a:p>
              <a:endParaRPr/>
            </a:p>
          </p:txBody>
        </p:sp>
      </p:grpSp>
      <p:grpSp>
        <p:nvGrpSpPr>
          <p:cNvPr id="12" name="Group 11">
            <a:extLst>
              <a:ext uri="{FF2B5EF4-FFF2-40B4-BE49-F238E27FC236}">
                <a16:creationId xmlns:a16="http://schemas.microsoft.com/office/drawing/2014/main" id="{1FC42880-0302-C926-E1D7-9A7ECE93C5EE}"/>
              </a:ext>
            </a:extLst>
          </p:cNvPr>
          <p:cNvGrpSpPr/>
          <p:nvPr userDrawn="1"/>
        </p:nvGrpSpPr>
        <p:grpSpPr>
          <a:xfrm>
            <a:off x="1425891" y="1140401"/>
            <a:ext cx="3248966" cy="1024255"/>
            <a:chOff x="1425891" y="1140401"/>
            <a:chExt cx="3248966" cy="1024255"/>
          </a:xfrm>
        </p:grpSpPr>
        <p:sp>
          <p:nvSpPr>
            <p:cNvPr id="13" name="object 14">
              <a:extLst>
                <a:ext uri="{FF2B5EF4-FFF2-40B4-BE49-F238E27FC236}">
                  <a16:creationId xmlns:a16="http://schemas.microsoft.com/office/drawing/2014/main" id="{EA8D6924-39E8-D288-3312-B52AA60DE2EA}"/>
                </a:ext>
              </a:extLst>
            </p:cNvPr>
            <p:cNvSpPr/>
            <p:nvPr/>
          </p:nvSpPr>
          <p:spPr>
            <a:xfrm>
              <a:off x="3835047" y="1144241"/>
              <a:ext cx="0" cy="1017269"/>
            </a:xfrm>
            <a:custGeom>
              <a:avLst/>
              <a:gdLst/>
              <a:ahLst/>
              <a:cxnLst/>
              <a:rect l="l" t="t" r="r" b="b"/>
              <a:pathLst>
                <a:path h="1017269">
                  <a:moveTo>
                    <a:pt x="0" y="0"/>
                  </a:moveTo>
                  <a:lnTo>
                    <a:pt x="0" y="1017037"/>
                  </a:lnTo>
                </a:path>
              </a:pathLst>
            </a:custGeom>
            <a:ln w="10523">
              <a:solidFill>
                <a:srgbClr val="FFFFFF"/>
              </a:solidFill>
            </a:ln>
          </p:spPr>
          <p:txBody>
            <a:bodyPr wrap="square" lIns="0" tIns="0" rIns="0" bIns="0" rtlCol="0"/>
            <a:lstStyle/>
            <a:p>
              <a:endParaRPr/>
            </a:p>
          </p:txBody>
        </p:sp>
        <p:grpSp>
          <p:nvGrpSpPr>
            <p:cNvPr id="14" name="object 15">
              <a:extLst>
                <a:ext uri="{FF2B5EF4-FFF2-40B4-BE49-F238E27FC236}">
                  <a16:creationId xmlns:a16="http://schemas.microsoft.com/office/drawing/2014/main" id="{3CA56733-FFAB-AB49-CA3F-FFBBF302B759}"/>
                </a:ext>
              </a:extLst>
            </p:cNvPr>
            <p:cNvGrpSpPr/>
            <p:nvPr/>
          </p:nvGrpSpPr>
          <p:grpSpPr>
            <a:xfrm>
              <a:off x="1425891" y="1140401"/>
              <a:ext cx="957580" cy="1024255"/>
              <a:chOff x="1425891" y="1140401"/>
              <a:chExt cx="957580" cy="1024255"/>
            </a:xfrm>
          </p:grpSpPr>
          <p:sp>
            <p:nvSpPr>
              <p:cNvPr id="28" name="object 16">
                <a:extLst>
                  <a:ext uri="{FF2B5EF4-FFF2-40B4-BE49-F238E27FC236}">
                    <a16:creationId xmlns:a16="http://schemas.microsoft.com/office/drawing/2014/main" id="{FF6D3874-A060-A97C-7608-8EB8E5A57C8F}"/>
                  </a:ext>
                </a:extLst>
              </p:cNvPr>
              <p:cNvSpPr/>
              <p:nvPr/>
            </p:nvSpPr>
            <p:spPr>
              <a:xfrm>
                <a:off x="1425891" y="1140401"/>
                <a:ext cx="957580" cy="1024255"/>
              </a:xfrm>
              <a:custGeom>
                <a:avLst/>
                <a:gdLst/>
                <a:ahLst/>
                <a:cxnLst/>
                <a:rect l="l" t="t" r="r" b="b"/>
                <a:pathLst>
                  <a:path w="957580" h="1024255">
                    <a:moveTo>
                      <a:pt x="478791" y="0"/>
                    </a:moveTo>
                    <a:lnTo>
                      <a:pt x="429837" y="2471"/>
                    </a:lnTo>
                    <a:lnTo>
                      <a:pt x="382297" y="9727"/>
                    </a:lnTo>
                    <a:lnTo>
                      <a:pt x="336412" y="21525"/>
                    </a:lnTo>
                    <a:lnTo>
                      <a:pt x="292423" y="37625"/>
                    </a:lnTo>
                    <a:lnTo>
                      <a:pt x="250570" y="57787"/>
                    </a:lnTo>
                    <a:lnTo>
                      <a:pt x="211093" y="81769"/>
                    </a:lnTo>
                    <a:lnTo>
                      <a:pt x="174234" y="109331"/>
                    </a:lnTo>
                    <a:lnTo>
                      <a:pt x="140233" y="140233"/>
                    </a:lnTo>
                    <a:lnTo>
                      <a:pt x="109331" y="174234"/>
                    </a:lnTo>
                    <a:lnTo>
                      <a:pt x="81769" y="211093"/>
                    </a:lnTo>
                    <a:lnTo>
                      <a:pt x="57787" y="250570"/>
                    </a:lnTo>
                    <a:lnTo>
                      <a:pt x="37625" y="292423"/>
                    </a:lnTo>
                    <a:lnTo>
                      <a:pt x="21525" y="336412"/>
                    </a:lnTo>
                    <a:lnTo>
                      <a:pt x="9727" y="382297"/>
                    </a:lnTo>
                    <a:lnTo>
                      <a:pt x="2471" y="429837"/>
                    </a:lnTo>
                    <a:lnTo>
                      <a:pt x="0" y="478791"/>
                    </a:lnTo>
                    <a:lnTo>
                      <a:pt x="0" y="1024167"/>
                    </a:lnTo>
                    <a:lnTo>
                      <a:pt x="294807" y="1024167"/>
                    </a:lnTo>
                    <a:lnTo>
                      <a:pt x="294818" y="435599"/>
                    </a:lnTo>
                    <a:lnTo>
                      <a:pt x="301448" y="386251"/>
                    </a:lnTo>
                    <a:lnTo>
                      <a:pt x="320158" y="341908"/>
                    </a:lnTo>
                    <a:lnTo>
                      <a:pt x="349181" y="304340"/>
                    </a:lnTo>
                    <a:lnTo>
                      <a:pt x="386747" y="275314"/>
                    </a:lnTo>
                    <a:lnTo>
                      <a:pt x="431088" y="256602"/>
                    </a:lnTo>
                    <a:lnTo>
                      <a:pt x="480435" y="249971"/>
                    </a:lnTo>
                    <a:lnTo>
                      <a:pt x="529783" y="256602"/>
                    </a:lnTo>
                    <a:lnTo>
                      <a:pt x="574128" y="275314"/>
                    </a:lnTo>
                    <a:lnTo>
                      <a:pt x="611699" y="304340"/>
                    </a:lnTo>
                    <a:lnTo>
                      <a:pt x="640727" y="341908"/>
                    </a:lnTo>
                    <a:lnTo>
                      <a:pt x="659442" y="386251"/>
                    </a:lnTo>
                    <a:lnTo>
                      <a:pt x="666073" y="435599"/>
                    </a:lnTo>
                    <a:lnTo>
                      <a:pt x="666073" y="500958"/>
                    </a:lnTo>
                    <a:lnTo>
                      <a:pt x="957080" y="500958"/>
                    </a:lnTo>
                    <a:lnTo>
                      <a:pt x="957080" y="1023665"/>
                    </a:lnTo>
                    <a:lnTo>
                      <a:pt x="664199" y="1023665"/>
                    </a:lnTo>
                    <a:lnTo>
                      <a:pt x="664199" y="1024167"/>
                    </a:lnTo>
                    <a:lnTo>
                      <a:pt x="957583" y="1024167"/>
                    </a:lnTo>
                    <a:lnTo>
                      <a:pt x="957583" y="478791"/>
                    </a:lnTo>
                    <a:lnTo>
                      <a:pt x="955111" y="429837"/>
                    </a:lnTo>
                    <a:lnTo>
                      <a:pt x="947856" y="382297"/>
                    </a:lnTo>
                    <a:lnTo>
                      <a:pt x="936058" y="336412"/>
                    </a:lnTo>
                    <a:lnTo>
                      <a:pt x="919957" y="292423"/>
                    </a:lnTo>
                    <a:lnTo>
                      <a:pt x="899796" y="250570"/>
                    </a:lnTo>
                    <a:lnTo>
                      <a:pt x="875813" y="211093"/>
                    </a:lnTo>
                    <a:lnTo>
                      <a:pt x="848251" y="174234"/>
                    </a:lnTo>
                    <a:lnTo>
                      <a:pt x="817349" y="140233"/>
                    </a:lnTo>
                    <a:lnTo>
                      <a:pt x="783348" y="109331"/>
                    </a:lnTo>
                    <a:lnTo>
                      <a:pt x="746489" y="81769"/>
                    </a:lnTo>
                    <a:lnTo>
                      <a:pt x="707013" y="57787"/>
                    </a:lnTo>
                    <a:lnTo>
                      <a:pt x="665160" y="37625"/>
                    </a:lnTo>
                    <a:lnTo>
                      <a:pt x="621170" y="21525"/>
                    </a:lnTo>
                    <a:lnTo>
                      <a:pt x="575285" y="9727"/>
                    </a:lnTo>
                    <a:lnTo>
                      <a:pt x="527745" y="2471"/>
                    </a:lnTo>
                    <a:lnTo>
                      <a:pt x="478791" y="0"/>
                    </a:lnTo>
                    <a:close/>
                  </a:path>
                </a:pathLst>
              </a:custGeom>
              <a:solidFill>
                <a:srgbClr val="E49487"/>
              </a:solidFill>
            </p:spPr>
            <p:txBody>
              <a:bodyPr wrap="square" lIns="0" tIns="0" rIns="0" bIns="0" rtlCol="0"/>
              <a:lstStyle/>
              <a:p>
                <a:endParaRPr/>
              </a:p>
            </p:txBody>
          </p:sp>
          <p:sp>
            <p:nvSpPr>
              <p:cNvPr id="29" name="object 17">
                <a:extLst>
                  <a:ext uri="{FF2B5EF4-FFF2-40B4-BE49-F238E27FC236}">
                    <a16:creationId xmlns:a16="http://schemas.microsoft.com/office/drawing/2014/main" id="{08CC3BE8-F306-D84F-EB95-A5C6BFD91E86}"/>
                  </a:ext>
                </a:extLst>
              </p:cNvPr>
              <p:cNvSpPr/>
              <p:nvPr/>
            </p:nvSpPr>
            <p:spPr>
              <a:xfrm>
                <a:off x="1720708" y="1390369"/>
                <a:ext cx="371475" cy="405130"/>
              </a:xfrm>
              <a:custGeom>
                <a:avLst/>
                <a:gdLst/>
                <a:ahLst/>
                <a:cxnLst/>
                <a:rect l="l" t="t" r="r" b="b"/>
                <a:pathLst>
                  <a:path w="371475" h="405130">
                    <a:moveTo>
                      <a:pt x="185617" y="0"/>
                    </a:moveTo>
                    <a:lnTo>
                      <a:pt x="136270" y="6630"/>
                    </a:lnTo>
                    <a:lnTo>
                      <a:pt x="91929" y="25343"/>
                    </a:lnTo>
                    <a:lnTo>
                      <a:pt x="54363" y="54368"/>
                    </a:lnTo>
                    <a:lnTo>
                      <a:pt x="25340" y="91937"/>
                    </a:lnTo>
                    <a:lnTo>
                      <a:pt x="6629" y="136280"/>
                    </a:lnTo>
                    <a:lnTo>
                      <a:pt x="0" y="185627"/>
                    </a:lnTo>
                    <a:lnTo>
                      <a:pt x="0" y="404804"/>
                    </a:lnTo>
                    <a:lnTo>
                      <a:pt x="281300" y="404804"/>
                    </a:lnTo>
                    <a:lnTo>
                      <a:pt x="371255" y="351800"/>
                    </a:lnTo>
                    <a:lnTo>
                      <a:pt x="371255" y="325257"/>
                    </a:lnTo>
                    <a:lnTo>
                      <a:pt x="218904" y="325257"/>
                    </a:lnTo>
                    <a:lnTo>
                      <a:pt x="193288" y="322681"/>
                    </a:lnTo>
                    <a:lnTo>
                      <a:pt x="138137" y="299848"/>
                    </a:lnTo>
                    <a:lnTo>
                      <a:pt x="107567" y="273034"/>
                    </a:lnTo>
                    <a:lnTo>
                      <a:pt x="91050" y="236095"/>
                    </a:lnTo>
                    <a:lnTo>
                      <a:pt x="91629" y="224622"/>
                    </a:lnTo>
                    <a:lnTo>
                      <a:pt x="117358" y="190208"/>
                    </a:lnTo>
                    <a:lnTo>
                      <a:pt x="140184" y="186245"/>
                    </a:lnTo>
                    <a:lnTo>
                      <a:pt x="194680" y="186245"/>
                    </a:lnTo>
                    <a:lnTo>
                      <a:pt x="198895" y="180871"/>
                    </a:lnTo>
                    <a:lnTo>
                      <a:pt x="207710" y="173540"/>
                    </a:lnTo>
                    <a:lnTo>
                      <a:pt x="219511" y="169052"/>
                    </a:lnTo>
                    <a:lnTo>
                      <a:pt x="233634" y="168142"/>
                    </a:lnTo>
                    <a:lnTo>
                      <a:pt x="368906" y="168142"/>
                    </a:lnTo>
                    <a:lnTo>
                      <a:pt x="364624" y="136280"/>
                    </a:lnTo>
                    <a:lnTo>
                      <a:pt x="345909" y="91937"/>
                    </a:lnTo>
                    <a:lnTo>
                      <a:pt x="316881" y="54368"/>
                    </a:lnTo>
                    <a:lnTo>
                      <a:pt x="279310" y="25343"/>
                    </a:lnTo>
                    <a:lnTo>
                      <a:pt x="234965" y="6630"/>
                    </a:lnTo>
                    <a:lnTo>
                      <a:pt x="185617" y="0"/>
                    </a:lnTo>
                    <a:close/>
                  </a:path>
                  <a:path w="371475" h="405130">
                    <a:moveTo>
                      <a:pt x="368906" y="168142"/>
                    </a:moveTo>
                    <a:lnTo>
                      <a:pt x="233634" y="168142"/>
                    </a:lnTo>
                    <a:lnTo>
                      <a:pt x="247419" y="171074"/>
                    </a:lnTo>
                    <a:lnTo>
                      <a:pt x="259668" y="177573"/>
                    </a:lnTo>
                    <a:lnTo>
                      <a:pt x="269185" y="187366"/>
                    </a:lnTo>
                    <a:lnTo>
                      <a:pt x="275658" y="202273"/>
                    </a:lnTo>
                    <a:lnTo>
                      <a:pt x="276988" y="218613"/>
                    </a:lnTo>
                    <a:lnTo>
                      <a:pt x="274507" y="235445"/>
                    </a:lnTo>
                    <a:lnTo>
                      <a:pt x="260647" y="272891"/>
                    </a:lnTo>
                    <a:lnTo>
                      <a:pt x="236250" y="308554"/>
                    </a:lnTo>
                    <a:lnTo>
                      <a:pt x="218904" y="325257"/>
                    </a:lnTo>
                    <a:lnTo>
                      <a:pt x="371255" y="325257"/>
                    </a:lnTo>
                    <a:lnTo>
                      <a:pt x="371255" y="185627"/>
                    </a:lnTo>
                    <a:lnTo>
                      <a:pt x="368906" y="168142"/>
                    </a:lnTo>
                    <a:close/>
                  </a:path>
                  <a:path w="371475" h="405130">
                    <a:moveTo>
                      <a:pt x="194680" y="186245"/>
                    </a:moveTo>
                    <a:lnTo>
                      <a:pt x="140184" y="186245"/>
                    </a:lnTo>
                    <a:lnTo>
                      <a:pt x="151707" y="187757"/>
                    </a:lnTo>
                    <a:lnTo>
                      <a:pt x="162895" y="191058"/>
                    </a:lnTo>
                    <a:lnTo>
                      <a:pt x="173447" y="195947"/>
                    </a:lnTo>
                    <a:lnTo>
                      <a:pt x="183062" y="202224"/>
                    </a:lnTo>
                    <a:lnTo>
                      <a:pt x="191277" y="190585"/>
                    </a:lnTo>
                    <a:lnTo>
                      <a:pt x="194680" y="186245"/>
                    </a:lnTo>
                    <a:close/>
                  </a:path>
                </a:pathLst>
              </a:custGeom>
              <a:solidFill>
                <a:srgbClr val="D95B2F"/>
              </a:solidFill>
            </p:spPr>
            <p:txBody>
              <a:bodyPr wrap="square" lIns="0" tIns="0" rIns="0" bIns="0" rtlCol="0"/>
              <a:lstStyle/>
              <a:p>
                <a:endParaRPr/>
              </a:p>
            </p:txBody>
          </p:sp>
          <p:sp>
            <p:nvSpPr>
              <p:cNvPr id="30" name="object 18">
                <a:extLst>
                  <a:ext uri="{FF2B5EF4-FFF2-40B4-BE49-F238E27FC236}">
                    <a16:creationId xmlns:a16="http://schemas.microsoft.com/office/drawing/2014/main" id="{547705D3-751E-EA6B-F7EA-3E20824343B7}"/>
                  </a:ext>
                </a:extLst>
              </p:cNvPr>
              <p:cNvSpPr/>
              <p:nvPr/>
            </p:nvSpPr>
            <p:spPr>
              <a:xfrm>
                <a:off x="1887132" y="1954860"/>
                <a:ext cx="55880" cy="55880"/>
              </a:xfrm>
              <a:custGeom>
                <a:avLst/>
                <a:gdLst/>
                <a:ahLst/>
                <a:cxnLst/>
                <a:rect l="l" t="t" r="r" b="b"/>
                <a:pathLst>
                  <a:path w="55880" h="55880">
                    <a:moveTo>
                      <a:pt x="27674" y="0"/>
                    </a:moveTo>
                    <a:lnTo>
                      <a:pt x="16905" y="2174"/>
                    </a:lnTo>
                    <a:lnTo>
                      <a:pt x="8108" y="8103"/>
                    </a:lnTo>
                    <a:lnTo>
                      <a:pt x="2175" y="16896"/>
                    </a:lnTo>
                    <a:lnTo>
                      <a:pt x="0" y="27664"/>
                    </a:lnTo>
                    <a:lnTo>
                      <a:pt x="2175" y="38431"/>
                    </a:lnTo>
                    <a:lnTo>
                      <a:pt x="8108" y="47225"/>
                    </a:lnTo>
                    <a:lnTo>
                      <a:pt x="16905" y="53153"/>
                    </a:lnTo>
                    <a:lnTo>
                      <a:pt x="27674" y="55328"/>
                    </a:lnTo>
                    <a:lnTo>
                      <a:pt x="38448" y="53153"/>
                    </a:lnTo>
                    <a:lnTo>
                      <a:pt x="47244" y="47225"/>
                    </a:lnTo>
                    <a:lnTo>
                      <a:pt x="53174" y="38431"/>
                    </a:lnTo>
                    <a:lnTo>
                      <a:pt x="55349" y="27664"/>
                    </a:lnTo>
                    <a:lnTo>
                      <a:pt x="53174" y="16896"/>
                    </a:lnTo>
                    <a:lnTo>
                      <a:pt x="47244" y="8103"/>
                    </a:lnTo>
                    <a:lnTo>
                      <a:pt x="38448" y="2174"/>
                    </a:lnTo>
                    <a:lnTo>
                      <a:pt x="27674" y="0"/>
                    </a:lnTo>
                    <a:close/>
                  </a:path>
                </a:pathLst>
              </a:custGeom>
              <a:solidFill>
                <a:srgbClr val="76BA84"/>
              </a:solidFill>
            </p:spPr>
            <p:txBody>
              <a:bodyPr wrap="square" lIns="0" tIns="0" rIns="0" bIns="0" rtlCol="0"/>
              <a:lstStyle/>
              <a:p>
                <a:endParaRPr/>
              </a:p>
            </p:txBody>
          </p:sp>
          <p:sp>
            <p:nvSpPr>
              <p:cNvPr id="31" name="object 19">
                <a:extLst>
                  <a:ext uri="{FF2B5EF4-FFF2-40B4-BE49-F238E27FC236}">
                    <a16:creationId xmlns:a16="http://schemas.microsoft.com/office/drawing/2014/main" id="{AD341441-5BDC-2115-611A-1130FE53FF3E}"/>
                  </a:ext>
                </a:extLst>
              </p:cNvPr>
              <p:cNvSpPr/>
              <p:nvPr/>
            </p:nvSpPr>
            <p:spPr>
              <a:xfrm>
                <a:off x="1720694" y="1795172"/>
                <a:ext cx="369570" cy="369570"/>
              </a:xfrm>
              <a:custGeom>
                <a:avLst/>
                <a:gdLst/>
                <a:ahLst/>
                <a:cxnLst/>
                <a:rect l="l" t="t" r="r" b="b"/>
                <a:pathLst>
                  <a:path w="369569" h="369569">
                    <a:moveTo>
                      <a:pt x="281310" y="0"/>
                    </a:moveTo>
                    <a:lnTo>
                      <a:pt x="0" y="0"/>
                    </a:lnTo>
                    <a:lnTo>
                      <a:pt x="0" y="369391"/>
                    </a:lnTo>
                    <a:lnTo>
                      <a:pt x="369391" y="369391"/>
                    </a:lnTo>
                    <a:lnTo>
                      <a:pt x="369391" y="297310"/>
                    </a:lnTo>
                    <a:lnTo>
                      <a:pt x="187900" y="297310"/>
                    </a:lnTo>
                    <a:lnTo>
                      <a:pt x="182853" y="292242"/>
                    </a:lnTo>
                    <a:lnTo>
                      <a:pt x="182853" y="288368"/>
                    </a:lnTo>
                    <a:lnTo>
                      <a:pt x="151785" y="288368"/>
                    </a:lnTo>
                    <a:lnTo>
                      <a:pt x="150183" y="288022"/>
                    </a:lnTo>
                    <a:lnTo>
                      <a:pt x="142979" y="284713"/>
                    </a:lnTo>
                    <a:lnTo>
                      <a:pt x="140508" y="278002"/>
                    </a:lnTo>
                    <a:lnTo>
                      <a:pt x="144756" y="268787"/>
                    </a:lnTo>
                    <a:lnTo>
                      <a:pt x="122404" y="268787"/>
                    </a:lnTo>
                    <a:lnTo>
                      <a:pt x="119514" y="267677"/>
                    </a:lnTo>
                    <a:lnTo>
                      <a:pt x="112886" y="261060"/>
                    </a:lnTo>
                    <a:lnTo>
                      <a:pt x="112886" y="253908"/>
                    </a:lnTo>
                    <a:lnTo>
                      <a:pt x="126367" y="240432"/>
                    </a:lnTo>
                    <a:lnTo>
                      <a:pt x="101316" y="240432"/>
                    </a:lnTo>
                    <a:lnTo>
                      <a:pt x="97211" y="237982"/>
                    </a:lnTo>
                    <a:lnTo>
                      <a:pt x="92730" y="228150"/>
                    </a:lnTo>
                    <a:lnTo>
                      <a:pt x="95222" y="221448"/>
                    </a:lnTo>
                    <a:lnTo>
                      <a:pt x="142278" y="199931"/>
                    </a:lnTo>
                    <a:lnTo>
                      <a:pt x="90541" y="199931"/>
                    </a:lnTo>
                    <a:lnTo>
                      <a:pt x="85473" y="194884"/>
                    </a:lnTo>
                    <a:lnTo>
                      <a:pt x="85473" y="182402"/>
                    </a:lnTo>
                    <a:lnTo>
                      <a:pt x="90541" y="177345"/>
                    </a:lnTo>
                    <a:lnTo>
                      <a:pt x="142655" y="177345"/>
                    </a:lnTo>
                    <a:lnTo>
                      <a:pt x="95326" y="155524"/>
                    </a:lnTo>
                    <a:lnTo>
                      <a:pt x="92845" y="148822"/>
                    </a:lnTo>
                    <a:lnTo>
                      <a:pt x="98070" y="137482"/>
                    </a:lnTo>
                    <a:lnTo>
                      <a:pt x="104792" y="135001"/>
                    </a:lnTo>
                    <a:lnTo>
                      <a:pt x="124519" y="135001"/>
                    </a:lnTo>
                    <a:lnTo>
                      <a:pt x="112886" y="123367"/>
                    </a:lnTo>
                    <a:lnTo>
                      <a:pt x="112886" y="116216"/>
                    </a:lnTo>
                    <a:lnTo>
                      <a:pt x="121724" y="107389"/>
                    </a:lnTo>
                    <a:lnTo>
                      <a:pt x="144564" y="107389"/>
                    </a:lnTo>
                    <a:lnTo>
                      <a:pt x="140781" y="99117"/>
                    </a:lnTo>
                    <a:lnTo>
                      <a:pt x="143283" y="92405"/>
                    </a:lnTo>
                    <a:lnTo>
                      <a:pt x="154634" y="87222"/>
                    </a:lnTo>
                    <a:lnTo>
                      <a:pt x="182853" y="87222"/>
                    </a:lnTo>
                    <a:lnTo>
                      <a:pt x="182853" y="85034"/>
                    </a:lnTo>
                    <a:lnTo>
                      <a:pt x="187900" y="79966"/>
                    </a:lnTo>
                    <a:lnTo>
                      <a:pt x="369391" y="79966"/>
                    </a:lnTo>
                    <a:lnTo>
                      <a:pt x="369391" y="38909"/>
                    </a:lnTo>
                    <a:lnTo>
                      <a:pt x="280389" y="534"/>
                    </a:lnTo>
                    <a:lnTo>
                      <a:pt x="281310" y="0"/>
                    </a:lnTo>
                    <a:close/>
                  </a:path>
                  <a:path w="369569" h="369569">
                    <a:moveTo>
                      <a:pt x="205438" y="240505"/>
                    </a:moveTo>
                    <a:lnTo>
                      <a:pt x="205438" y="292242"/>
                    </a:lnTo>
                    <a:lnTo>
                      <a:pt x="200391" y="297310"/>
                    </a:lnTo>
                    <a:lnTo>
                      <a:pt x="369391" y="297310"/>
                    </a:lnTo>
                    <a:lnTo>
                      <a:pt x="369391" y="288493"/>
                    </a:lnTo>
                    <a:lnTo>
                      <a:pt x="230359" y="288493"/>
                    </a:lnTo>
                    <a:lnTo>
                      <a:pt x="226265" y="286043"/>
                    </a:lnTo>
                    <a:lnTo>
                      <a:pt x="205438" y="240505"/>
                    </a:lnTo>
                    <a:close/>
                  </a:path>
                  <a:path w="369569" h="369569">
                    <a:moveTo>
                      <a:pt x="230485" y="240956"/>
                    </a:moveTo>
                    <a:lnTo>
                      <a:pt x="247500" y="278159"/>
                    </a:lnTo>
                    <a:lnTo>
                      <a:pt x="245008" y="284870"/>
                    </a:lnTo>
                    <a:lnTo>
                      <a:pt x="237814" y="288158"/>
                    </a:lnTo>
                    <a:lnTo>
                      <a:pt x="236212" y="288493"/>
                    </a:lnTo>
                    <a:lnTo>
                      <a:pt x="369391" y="288493"/>
                    </a:lnTo>
                    <a:lnTo>
                      <a:pt x="369391" y="268787"/>
                    </a:lnTo>
                    <a:lnTo>
                      <a:pt x="260107" y="268787"/>
                    </a:lnTo>
                    <a:lnTo>
                      <a:pt x="257217" y="267677"/>
                    </a:lnTo>
                    <a:lnTo>
                      <a:pt x="230485" y="240956"/>
                    </a:lnTo>
                    <a:close/>
                  </a:path>
                  <a:path w="369569" h="369569">
                    <a:moveTo>
                      <a:pt x="182853" y="240128"/>
                    </a:moveTo>
                    <a:lnTo>
                      <a:pt x="161722" y="285928"/>
                    </a:lnTo>
                    <a:lnTo>
                      <a:pt x="157649" y="288368"/>
                    </a:lnTo>
                    <a:lnTo>
                      <a:pt x="182853" y="288368"/>
                    </a:lnTo>
                    <a:lnTo>
                      <a:pt x="182853" y="240128"/>
                    </a:lnTo>
                    <a:close/>
                  </a:path>
                  <a:path w="369569" h="369569">
                    <a:moveTo>
                      <a:pt x="157398" y="241364"/>
                    </a:moveTo>
                    <a:lnTo>
                      <a:pt x="131085" y="267677"/>
                    </a:lnTo>
                    <a:lnTo>
                      <a:pt x="128184" y="268787"/>
                    </a:lnTo>
                    <a:lnTo>
                      <a:pt x="144756" y="268787"/>
                    </a:lnTo>
                    <a:lnTo>
                      <a:pt x="157398" y="241364"/>
                    </a:lnTo>
                    <a:close/>
                  </a:path>
                  <a:path w="369569" h="369569">
                    <a:moveTo>
                      <a:pt x="246861" y="225385"/>
                    </a:moveTo>
                    <a:lnTo>
                      <a:pt x="275394" y="253908"/>
                    </a:lnTo>
                    <a:lnTo>
                      <a:pt x="275394" y="261060"/>
                    </a:lnTo>
                    <a:lnTo>
                      <a:pt x="268777" y="267677"/>
                    </a:lnTo>
                    <a:lnTo>
                      <a:pt x="265887" y="268787"/>
                    </a:lnTo>
                    <a:lnTo>
                      <a:pt x="369391" y="268787"/>
                    </a:lnTo>
                    <a:lnTo>
                      <a:pt x="369391" y="240704"/>
                    </a:lnTo>
                    <a:lnTo>
                      <a:pt x="280975" y="240704"/>
                    </a:lnTo>
                    <a:lnTo>
                      <a:pt x="279373" y="240369"/>
                    </a:lnTo>
                    <a:lnTo>
                      <a:pt x="246861" y="225385"/>
                    </a:lnTo>
                    <a:close/>
                  </a:path>
                  <a:path w="369569" h="369569">
                    <a:moveTo>
                      <a:pt x="369391" y="135283"/>
                    </a:moveTo>
                    <a:lnTo>
                      <a:pt x="283666" y="135283"/>
                    </a:lnTo>
                    <a:lnTo>
                      <a:pt x="290378" y="137775"/>
                    </a:lnTo>
                    <a:lnTo>
                      <a:pt x="295572" y="149115"/>
                    </a:lnTo>
                    <a:lnTo>
                      <a:pt x="293069" y="155827"/>
                    </a:lnTo>
                    <a:lnTo>
                      <a:pt x="246013" y="177345"/>
                    </a:lnTo>
                    <a:lnTo>
                      <a:pt x="297750" y="177345"/>
                    </a:lnTo>
                    <a:lnTo>
                      <a:pt x="302807" y="182402"/>
                    </a:lnTo>
                    <a:lnTo>
                      <a:pt x="302807" y="194884"/>
                    </a:lnTo>
                    <a:lnTo>
                      <a:pt x="297750" y="199931"/>
                    </a:lnTo>
                    <a:lnTo>
                      <a:pt x="245626" y="199931"/>
                    </a:lnTo>
                    <a:lnTo>
                      <a:pt x="292964" y="221752"/>
                    </a:lnTo>
                    <a:lnTo>
                      <a:pt x="295446" y="228464"/>
                    </a:lnTo>
                    <a:lnTo>
                      <a:pt x="290912" y="238264"/>
                    </a:lnTo>
                    <a:lnTo>
                      <a:pt x="286839" y="240704"/>
                    </a:lnTo>
                    <a:lnTo>
                      <a:pt x="369391" y="240704"/>
                    </a:lnTo>
                    <a:lnTo>
                      <a:pt x="369391" y="135283"/>
                    </a:lnTo>
                    <a:close/>
                  </a:path>
                  <a:path w="369569" h="369569">
                    <a:moveTo>
                      <a:pt x="141817" y="224987"/>
                    </a:moveTo>
                    <a:lnTo>
                      <a:pt x="108771" y="240097"/>
                    </a:lnTo>
                    <a:lnTo>
                      <a:pt x="107179" y="240432"/>
                    </a:lnTo>
                    <a:lnTo>
                      <a:pt x="126367" y="240432"/>
                    </a:lnTo>
                    <a:lnTo>
                      <a:pt x="141817" y="224987"/>
                    </a:lnTo>
                    <a:close/>
                  </a:path>
                  <a:path w="369569" h="369569">
                    <a:moveTo>
                      <a:pt x="369391" y="107389"/>
                    </a:moveTo>
                    <a:lnTo>
                      <a:pt x="266567" y="107389"/>
                    </a:lnTo>
                    <a:lnTo>
                      <a:pt x="275394" y="116216"/>
                    </a:lnTo>
                    <a:lnTo>
                      <a:pt x="275394" y="123367"/>
                    </a:lnTo>
                    <a:lnTo>
                      <a:pt x="246463" y="152288"/>
                    </a:lnTo>
                    <a:lnTo>
                      <a:pt x="283666" y="135283"/>
                    </a:lnTo>
                    <a:lnTo>
                      <a:pt x="369391" y="135283"/>
                    </a:lnTo>
                    <a:lnTo>
                      <a:pt x="369391" y="107389"/>
                    </a:lnTo>
                    <a:close/>
                  </a:path>
                  <a:path w="369569" h="369569">
                    <a:moveTo>
                      <a:pt x="124519" y="135001"/>
                    </a:moveTo>
                    <a:lnTo>
                      <a:pt x="104792" y="135001"/>
                    </a:lnTo>
                    <a:lnTo>
                      <a:pt x="141419" y="151901"/>
                    </a:lnTo>
                    <a:lnTo>
                      <a:pt x="124519" y="135001"/>
                    </a:lnTo>
                    <a:close/>
                  </a:path>
                  <a:path w="369569" h="369569">
                    <a:moveTo>
                      <a:pt x="369391" y="79966"/>
                    </a:moveTo>
                    <a:lnTo>
                      <a:pt x="200391" y="79966"/>
                    </a:lnTo>
                    <a:lnTo>
                      <a:pt x="205438" y="85034"/>
                    </a:lnTo>
                    <a:lnTo>
                      <a:pt x="205438" y="137147"/>
                    </a:lnTo>
                    <a:lnTo>
                      <a:pt x="227260" y="89819"/>
                    </a:lnTo>
                    <a:lnTo>
                      <a:pt x="233982" y="87337"/>
                    </a:lnTo>
                    <a:lnTo>
                      <a:pt x="369391" y="87337"/>
                    </a:lnTo>
                    <a:lnTo>
                      <a:pt x="369391" y="79966"/>
                    </a:lnTo>
                    <a:close/>
                  </a:path>
                  <a:path w="369569" h="369569">
                    <a:moveTo>
                      <a:pt x="182853" y="87222"/>
                    </a:moveTo>
                    <a:lnTo>
                      <a:pt x="154634" y="87222"/>
                    </a:lnTo>
                    <a:lnTo>
                      <a:pt x="161324" y="89714"/>
                    </a:lnTo>
                    <a:lnTo>
                      <a:pt x="182853" y="136770"/>
                    </a:lnTo>
                    <a:lnTo>
                      <a:pt x="182853" y="87222"/>
                    </a:lnTo>
                    <a:close/>
                  </a:path>
                  <a:path w="369569" h="369569">
                    <a:moveTo>
                      <a:pt x="144564" y="107389"/>
                    </a:moveTo>
                    <a:lnTo>
                      <a:pt x="128875" y="107389"/>
                    </a:lnTo>
                    <a:lnTo>
                      <a:pt x="157796" y="136320"/>
                    </a:lnTo>
                    <a:lnTo>
                      <a:pt x="144564" y="107389"/>
                    </a:lnTo>
                    <a:close/>
                  </a:path>
                  <a:path w="369569" h="369569">
                    <a:moveTo>
                      <a:pt x="369391" y="87337"/>
                    </a:moveTo>
                    <a:lnTo>
                      <a:pt x="233982" y="87337"/>
                    </a:lnTo>
                    <a:lnTo>
                      <a:pt x="245301" y="92573"/>
                    </a:lnTo>
                    <a:lnTo>
                      <a:pt x="247772" y="99284"/>
                    </a:lnTo>
                    <a:lnTo>
                      <a:pt x="230893" y="135922"/>
                    </a:lnTo>
                    <a:lnTo>
                      <a:pt x="259426" y="107389"/>
                    </a:lnTo>
                    <a:lnTo>
                      <a:pt x="369391" y="107389"/>
                    </a:lnTo>
                    <a:lnTo>
                      <a:pt x="369391" y="87337"/>
                    </a:lnTo>
                    <a:close/>
                  </a:path>
                </a:pathLst>
              </a:custGeom>
              <a:solidFill>
                <a:srgbClr val="7EB97D"/>
              </a:solidFill>
            </p:spPr>
            <p:txBody>
              <a:bodyPr wrap="square" lIns="0" tIns="0" rIns="0" bIns="0" rtlCol="0"/>
              <a:lstStyle/>
              <a:p>
                <a:endParaRPr/>
              </a:p>
            </p:txBody>
          </p:sp>
          <p:pic>
            <p:nvPicPr>
              <p:cNvPr id="32" name="object 20">
                <a:extLst>
                  <a:ext uri="{FF2B5EF4-FFF2-40B4-BE49-F238E27FC236}">
                    <a16:creationId xmlns:a16="http://schemas.microsoft.com/office/drawing/2014/main" id="{1D92588D-63B4-6ED4-C517-B6F724BC9858}"/>
                  </a:ext>
                </a:extLst>
              </p:cNvPr>
              <p:cNvPicPr/>
              <p:nvPr/>
            </p:nvPicPr>
            <p:blipFill>
              <a:blip r:embed="rId5" cstate="print"/>
              <a:stretch>
                <a:fillRect/>
              </a:stretch>
            </p:blipFill>
            <p:spPr>
              <a:xfrm>
                <a:off x="1811758" y="1558509"/>
                <a:ext cx="185941" cy="157112"/>
              </a:xfrm>
              <a:prstGeom prst="rect">
                <a:avLst/>
              </a:prstGeom>
            </p:spPr>
          </p:pic>
          <p:pic>
            <p:nvPicPr>
              <p:cNvPr id="33" name="object 21">
                <a:extLst>
                  <a:ext uri="{FF2B5EF4-FFF2-40B4-BE49-F238E27FC236}">
                    <a16:creationId xmlns:a16="http://schemas.microsoft.com/office/drawing/2014/main" id="{1D92B6A9-9F23-A4FF-6B04-E9B1E061488B}"/>
                  </a:ext>
                </a:extLst>
              </p:cNvPr>
              <p:cNvPicPr/>
              <p:nvPr/>
            </p:nvPicPr>
            <p:blipFill>
              <a:blip r:embed="rId6" cstate="print"/>
              <a:stretch>
                <a:fillRect/>
              </a:stretch>
            </p:blipFill>
            <p:spPr>
              <a:xfrm>
                <a:off x="1806171" y="1875142"/>
                <a:ext cx="217333" cy="217333"/>
              </a:xfrm>
              <a:prstGeom prst="rect">
                <a:avLst/>
              </a:prstGeom>
            </p:spPr>
          </p:pic>
          <p:sp>
            <p:nvSpPr>
              <p:cNvPr id="34" name="object 22">
                <a:extLst>
                  <a:ext uri="{FF2B5EF4-FFF2-40B4-BE49-F238E27FC236}">
                    <a16:creationId xmlns:a16="http://schemas.microsoft.com/office/drawing/2014/main" id="{C25D6825-1944-8219-6981-6B4CB1527F0B}"/>
                  </a:ext>
                </a:extLst>
              </p:cNvPr>
              <p:cNvSpPr/>
              <p:nvPr/>
            </p:nvSpPr>
            <p:spPr>
              <a:xfrm>
                <a:off x="2210765" y="1784330"/>
                <a:ext cx="51435" cy="236854"/>
              </a:xfrm>
              <a:custGeom>
                <a:avLst/>
                <a:gdLst/>
                <a:ahLst/>
                <a:cxnLst/>
                <a:rect l="l" t="t" r="r" b="b"/>
                <a:pathLst>
                  <a:path w="51435" h="236855">
                    <a:moveTo>
                      <a:pt x="51079" y="211226"/>
                    </a:moveTo>
                    <a:lnTo>
                      <a:pt x="49072" y="201282"/>
                    </a:lnTo>
                    <a:lnTo>
                      <a:pt x="43611" y="193154"/>
                    </a:lnTo>
                    <a:lnTo>
                      <a:pt x="35483" y="187680"/>
                    </a:lnTo>
                    <a:lnTo>
                      <a:pt x="25539" y="185674"/>
                    </a:lnTo>
                    <a:lnTo>
                      <a:pt x="15582" y="187680"/>
                    </a:lnTo>
                    <a:lnTo>
                      <a:pt x="7467" y="193154"/>
                    </a:lnTo>
                    <a:lnTo>
                      <a:pt x="2006" y="201282"/>
                    </a:lnTo>
                    <a:lnTo>
                      <a:pt x="0" y="211226"/>
                    </a:lnTo>
                    <a:lnTo>
                      <a:pt x="2006" y="221170"/>
                    </a:lnTo>
                    <a:lnTo>
                      <a:pt x="7467" y="229285"/>
                    </a:lnTo>
                    <a:lnTo>
                      <a:pt x="15582" y="234772"/>
                    </a:lnTo>
                    <a:lnTo>
                      <a:pt x="25539" y="236778"/>
                    </a:lnTo>
                    <a:lnTo>
                      <a:pt x="35483" y="234772"/>
                    </a:lnTo>
                    <a:lnTo>
                      <a:pt x="43611" y="229285"/>
                    </a:lnTo>
                    <a:lnTo>
                      <a:pt x="49072" y="221170"/>
                    </a:lnTo>
                    <a:lnTo>
                      <a:pt x="51079" y="211226"/>
                    </a:lnTo>
                    <a:close/>
                  </a:path>
                  <a:path w="51435" h="236855">
                    <a:moveTo>
                      <a:pt x="51079" y="118402"/>
                    </a:moveTo>
                    <a:lnTo>
                      <a:pt x="49072" y="108445"/>
                    </a:lnTo>
                    <a:lnTo>
                      <a:pt x="43611" y="100330"/>
                    </a:lnTo>
                    <a:lnTo>
                      <a:pt x="35483" y="94843"/>
                    </a:lnTo>
                    <a:lnTo>
                      <a:pt x="25539" y="92837"/>
                    </a:lnTo>
                    <a:lnTo>
                      <a:pt x="15582" y="94843"/>
                    </a:lnTo>
                    <a:lnTo>
                      <a:pt x="7467" y="100330"/>
                    </a:lnTo>
                    <a:lnTo>
                      <a:pt x="2006" y="108445"/>
                    </a:lnTo>
                    <a:lnTo>
                      <a:pt x="0" y="118402"/>
                    </a:lnTo>
                    <a:lnTo>
                      <a:pt x="2006" y="128333"/>
                    </a:lnTo>
                    <a:lnTo>
                      <a:pt x="7467" y="136461"/>
                    </a:lnTo>
                    <a:lnTo>
                      <a:pt x="15582" y="141935"/>
                    </a:lnTo>
                    <a:lnTo>
                      <a:pt x="25539" y="143941"/>
                    </a:lnTo>
                    <a:lnTo>
                      <a:pt x="35483" y="141935"/>
                    </a:lnTo>
                    <a:lnTo>
                      <a:pt x="43611" y="136461"/>
                    </a:lnTo>
                    <a:lnTo>
                      <a:pt x="49072" y="128333"/>
                    </a:lnTo>
                    <a:lnTo>
                      <a:pt x="51079" y="118402"/>
                    </a:lnTo>
                    <a:close/>
                  </a:path>
                  <a:path w="51435" h="236855">
                    <a:moveTo>
                      <a:pt x="51079" y="25565"/>
                    </a:moveTo>
                    <a:lnTo>
                      <a:pt x="49072" y="15621"/>
                    </a:lnTo>
                    <a:lnTo>
                      <a:pt x="43611" y="7493"/>
                    </a:lnTo>
                    <a:lnTo>
                      <a:pt x="35483" y="2019"/>
                    </a:lnTo>
                    <a:lnTo>
                      <a:pt x="25539" y="0"/>
                    </a:lnTo>
                    <a:lnTo>
                      <a:pt x="15582" y="2019"/>
                    </a:lnTo>
                    <a:lnTo>
                      <a:pt x="7467" y="7493"/>
                    </a:lnTo>
                    <a:lnTo>
                      <a:pt x="2006" y="15621"/>
                    </a:lnTo>
                    <a:lnTo>
                      <a:pt x="0" y="25565"/>
                    </a:lnTo>
                    <a:lnTo>
                      <a:pt x="2006" y="35509"/>
                    </a:lnTo>
                    <a:lnTo>
                      <a:pt x="7467" y="43624"/>
                    </a:lnTo>
                    <a:lnTo>
                      <a:pt x="15582" y="49110"/>
                    </a:lnTo>
                    <a:lnTo>
                      <a:pt x="25539" y="51117"/>
                    </a:lnTo>
                    <a:lnTo>
                      <a:pt x="35483" y="49110"/>
                    </a:lnTo>
                    <a:lnTo>
                      <a:pt x="43611" y="43624"/>
                    </a:lnTo>
                    <a:lnTo>
                      <a:pt x="49072" y="35509"/>
                    </a:lnTo>
                    <a:lnTo>
                      <a:pt x="51079" y="25565"/>
                    </a:lnTo>
                    <a:close/>
                  </a:path>
                </a:pathLst>
              </a:custGeom>
              <a:solidFill>
                <a:srgbClr val="FFFFFF"/>
              </a:solidFill>
            </p:spPr>
            <p:txBody>
              <a:bodyPr wrap="square" lIns="0" tIns="0" rIns="0" bIns="0" rtlCol="0"/>
              <a:lstStyle/>
              <a:p>
                <a:endParaRPr/>
              </a:p>
            </p:txBody>
          </p:sp>
          <p:sp>
            <p:nvSpPr>
              <p:cNvPr id="35" name="object 23">
                <a:extLst>
                  <a:ext uri="{FF2B5EF4-FFF2-40B4-BE49-F238E27FC236}">
                    <a16:creationId xmlns:a16="http://schemas.microsoft.com/office/drawing/2014/main" id="{977DC15C-C2EF-6F01-0D4E-16FA8B530668}"/>
                  </a:ext>
                </a:extLst>
              </p:cNvPr>
              <p:cNvSpPr/>
              <p:nvPr/>
            </p:nvSpPr>
            <p:spPr>
              <a:xfrm>
                <a:off x="2001087" y="1641366"/>
                <a:ext cx="382270" cy="523240"/>
              </a:xfrm>
              <a:custGeom>
                <a:avLst/>
                <a:gdLst/>
                <a:ahLst/>
                <a:cxnLst/>
                <a:rect l="l" t="t" r="r" b="b"/>
                <a:pathLst>
                  <a:path w="382269" h="523239">
                    <a:moveTo>
                      <a:pt x="381883" y="0"/>
                    </a:moveTo>
                    <a:lnTo>
                      <a:pt x="90876" y="0"/>
                    </a:lnTo>
                    <a:lnTo>
                      <a:pt x="90876" y="100803"/>
                    </a:lnTo>
                    <a:lnTo>
                      <a:pt x="0" y="154340"/>
                    </a:lnTo>
                    <a:lnTo>
                      <a:pt x="89002" y="192716"/>
                    </a:lnTo>
                    <a:lnTo>
                      <a:pt x="89002" y="522706"/>
                    </a:lnTo>
                    <a:lnTo>
                      <a:pt x="381883" y="522706"/>
                    </a:lnTo>
                    <a:lnTo>
                      <a:pt x="381883" y="379737"/>
                    </a:lnTo>
                    <a:lnTo>
                      <a:pt x="235217" y="379737"/>
                    </a:lnTo>
                    <a:lnTo>
                      <a:pt x="225272" y="377728"/>
                    </a:lnTo>
                    <a:lnTo>
                      <a:pt x="217155" y="372250"/>
                    </a:lnTo>
                    <a:lnTo>
                      <a:pt x="211684" y="364126"/>
                    </a:lnTo>
                    <a:lnTo>
                      <a:pt x="209679" y="354177"/>
                    </a:lnTo>
                    <a:lnTo>
                      <a:pt x="211684" y="344235"/>
                    </a:lnTo>
                    <a:lnTo>
                      <a:pt x="217155" y="336114"/>
                    </a:lnTo>
                    <a:lnTo>
                      <a:pt x="225272" y="330637"/>
                    </a:lnTo>
                    <a:lnTo>
                      <a:pt x="235217" y="328628"/>
                    </a:lnTo>
                    <a:lnTo>
                      <a:pt x="381883" y="328628"/>
                    </a:lnTo>
                    <a:lnTo>
                      <a:pt x="381883" y="286902"/>
                    </a:lnTo>
                    <a:lnTo>
                      <a:pt x="235217" y="286902"/>
                    </a:lnTo>
                    <a:lnTo>
                      <a:pt x="225272" y="284893"/>
                    </a:lnTo>
                    <a:lnTo>
                      <a:pt x="217155" y="279416"/>
                    </a:lnTo>
                    <a:lnTo>
                      <a:pt x="211684" y="271295"/>
                    </a:lnTo>
                    <a:lnTo>
                      <a:pt x="209679" y="261353"/>
                    </a:lnTo>
                    <a:lnTo>
                      <a:pt x="211684" y="251404"/>
                    </a:lnTo>
                    <a:lnTo>
                      <a:pt x="217155" y="243280"/>
                    </a:lnTo>
                    <a:lnTo>
                      <a:pt x="225272" y="237802"/>
                    </a:lnTo>
                    <a:lnTo>
                      <a:pt x="235217" y="235793"/>
                    </a:lnTo>
                    <a:lnTo>
                      <a:pt x="381883" y="235793"/>
                    </a:lnTo>
                    <a:lnTo>
                      <a:pt x="381883" y="194067"/>
                    </a:lnTo>
                    <a:lnTo>
                      <a:pt x="235217" y="194067"/>
                    </a:lnTo>
                    <a:lnTo>
                      <a:pt x="209679" y="168518"/>
                    </a:lnTo>
                    <a:lnTo>
                      <a:pt x="211684" y="158570"/>
                    </a:lnTo>
                    <a:lnTo>
                      <a:pt x="217155" y="150445"/>
                    </a:lnTo>
                    <a:lnTo>
                      <a:pt x="225272" y="144967"/>
                    </a:lnTo>
                    <a:lnTo>
                      <a:pt x="235217" y="142958"/>
                    </a:lnTo>
                    <a:lnTo>
                      <a:pt x="381883" y="142958"/>
                    </a:lnTo>
                    <a:lnTo>
                      <a:pt x="381883" y="0"/>
                    </a:lnTo>
                    <a:close/>
                  </a:path>
                  <a:path w="382269" h="523239">
                    <a:moveTo>
                      <a:pt x="381883" y="328628"/>
                    </a:moveTo>
                    <a:lnTo>
                      <a:pt x="235217" y="328628"/>
                    </a:lnTo>
                    <a:lnTo>
                      <a:pt x="245169" y="330637"/>
                    </a:lnTo>
                    <a:lnTo>
                      <a:pt x="253289" y="336114"/>
                    </a:lnTo>
                    <a:lnTo>
                      <a:pt x="258761" y="344235"/>
                    </a:lnTo>
                    <a:lnTo>
                      <a:pt x="260766" y="354177"/>
                    </a:lnTo>
                    <a:lnTo>
                      <a:pt x="258761" y="364126"/>
                    </a:lnTo>
                    <a:lnTo>
                      <a:pt x="253289" y="372250"/>
                    </a:lnTo>
                    <a:lnTo>
                      <a:pt x="245169" y="377728"/>
                    </a:lnTo>
                    <a:lnTo>
                      <a:pt x="235217" y="379737"/>
                    </a:lnTo>
                    <a:lnTo>
                      <a:pt x="381883" y="379737"/>
                    </a:lnTo>
                    <a:lnTo>
                      <a:pt x="381883" y="328628"/>
                    </a:lnTo>
                    <a:close/>
                  </a:path>
                  <a:path w="382269" h="523239">
                    <a:moveTo>
                      <a:pt x="381883" y="235793"/>
                    </a:moveTo>
                    <a:lnTo>
                      <a:pt x="235217" y="235793"/>
                    </a:lnTo>
                    <a:lnTo>
                      <a:pt x="245169" y="237802"/>
                    </a:lnTo>
                    <a:lnTo>
                      <a:pt x="253289" y="243280"/>
                    </a:lnTo>
                    <a:lnTo>
                      <a:pt x="258761" y="251404"/>
                    </a:lnTo>
                    <a:lnTo>
                      <a:pt x="260766" y="261353"/>
                    </a:lnTo>
                    <a:lnTo>
                      <a:pt x="258761" y="271295"/>
                    </a:lnTo>
                    <a:lnTo>
                      <a:pt x="253289" y="279416"/>
                    </a:lnTo>
                    <a:lnTo>
                      <a:pt x="245169" y="284893"/>
                    </a:lnTo>
                    <a:lnTo>
                      <a:pt x="235217" y="286902"/>
                    </a:lnTo>
                    <a:lnTo>
                      <a:pt x="381883" y="286902"/>
                    </a:lnTo>
                    <a:lnTo>
                      <a:pt x="381883" y="235793"/>
                    </a:lnTo>
                    <a:close/>
                  </a:path>
                  <a:path w="382269" h="523239">
                    <a:moveTo>
                      <a:pt x="381883" y="142958"/>
                    </a:moveTo>
                    <a:lnTo>
                      <a:pt x="235217" y="142958"/>
                    </a:lnTo>
                    <a:lnTo>
                      <a:pt x="245169" y="144967"/>
                    </a:lnTo>
                    <a:lnTo>
                      <a:pt x="253289" y="150445"/>
                    </a:lnTo>
                    <a:lnTo>
                      <a:pt x="258761" y="158570"/>
                    </a:lnTo>
                    <a:lnTo>
                      <a:pt x="260766" y="168518"/>
                    </a:lnTo>
                    <a:lnTo>
                      <a:pt x="258761" y="178460"/>
                    </a:lnTo>
                    <a:lnTo>
                      <a:pt x="253289" y="186582"/>
                    </a:lnTo>
                    <a:lnTo>
                      <a:pt x="245169" y="192058"/>
                    </a:lnTo>
                    <a:lnTo>
                      <a:pt x="235217" y="194067"/>
                    </a:lnTo>
                    <a:lnTo>
                      <a:pt x="381883" y="194067"/>
                    </a:lnTo>
                    <a:lnTo>
                      <a:pt x="381883" y="142958"/>
                    </a:lnTo>
                    <a:close/>
                  </a:path>
                </a:pathLst>
              </a:custGeom>
              <a:solidFill>
                <a:srgbClr val="ECCC4A"/>
              </a:solidFill>
            </p:spPr>
            <p:txBody>
              <a:bodyPr wrap="square" lIns="0" tIns="0" rIns="0" bIns="0" rtlCol="0"/>
              <a:lstStyle/>
              <a:p>
                <a:endParaRPr/>
              </a:p>
            </p:txBody>
          </p:sp>
        </p:grpSp>
        <p:grpSp>
          <p:nvGrpSpPr>
            <p:cNvPr id="15" name="object 24">
              <a:extLst>
                <a:ext uri="{FF2B5EF4-FFF2-40B4-BE49-F238E27FC236}">
                  <a16:creationId xmlns:a16="http://schemas.microsoft.com/office/drawing/2014/main" id="{99FD93B5-8827-FED1-6C3D-ED6593D3B3E9}"/>
                </a:ext>
              </a:extLst>
            </p:cNvPr>
            <p:cNvGrpSpPr/>
            <p:nvPr/>
          </p:nvGrpSpPr>
          <p:grpSpPr>
            <a:xfrm>
              <a:off x="2610410" y="1505161"/>
              <a:ext cx="1027430" cy="266065"/>
              <a:chOff x="2610410" y="1505161"/>
              <a:chExt cx="1027430" cy="266065"/>
            </a:xfrm>
          </p:grpSpPr>
          <p:sp>
            <p:nvSpPr>
              <p:cNvPr id="24" name="object 25">
                <a:extLst>
                  <a:ext uri="{FF2B5EF4-FFF2-40B4-BE49-F238E27FC236}">
                    <a16:creationId xmlns:a16="http://schemas.microsoft.com/office/drawing/2014/main" id="{722E3E63-EA22-E083-4883-E3A33385DA31}"/>
                  </a:ext>
                </a:extLst>
              </p:cNvPr>
              <p:cNvSpPr/>
              <p:nvPr/>
            </p:nvSpPr>
            <p:spPr>
              <a:xfrm>
                <a:off x="2610410" y="1505161"/>
                <a:ext cx="210820" cy="266065"/>
              </a:xfrm>
              <a:custGeom>
                <a:avLst/>
                <a:gdLst/>
                <a:ahLst/>
                <a:cxnLst/>
                <a:rect l="l" t="t" r="r" b="b"/>
                <a:pathLst>
                  <a:path w="210819" h="266064">
                    <a:moveTo>
                      <a:pt x="90028" y="73139"/>
                    </a:moveTo>
                    <a:lnTo>
                      <a:pt x="53176" y="80293"/>
                    </a:lnTo>
                    <a:lnTo>
                      <a:pt x="24761" y="100280"/>
                    </a:lnTo>
                    <a:lnTo>
                      <a:pt x="6471" y="130887"/>
                    </a:lnTo>
                    <a:lnTo>
                      <a:pt x="0" y="169900"/>
                    </a:lnTo>
                    <a:lnTo>
                      <a:pt x="5597" y="209113"/>
                    </a:lnTo>
                    <a:lnTo>
                      <a:pt x="21991" y="238586"/>
                    </a:lnTo>
                    <a:lnTo>
                      <a:pt x="48582" y="257721"/>
                    </a:lnTo>
                    <a:lnTo>
                      <a:pt x="84772" y="265918"/>
                    </a:lnTo>
                    <a:lnTo>
                      <a:pt x="100811" y="265294"/>
                    </a:lnTo>
                    <a:lnTo>
                      <a:pt x="117167" y="261469"/>
                    </a:lnTo>
                    <a:lnTo>
                      <a:pt x="132611" y="254057"/>
                    </a:lnTo>
                    <a:lnTo>
                      <a:pt x="145911" y="242673"/>
                    </a:lnTo>
                    <a:lnTo>
                      <a:pt x="210422" y="242673"/>
                    </a:lnTo>
                    <a:lnTo>
                      <a:pt x="210422" y="210412"/>
                    </a:lnTo>
                    <a:lnTo>
                      <a:pt x="105776" y="210412"/>
                    </a:lnTo>
                    <a:lnTo>
                      <a:pt x="91268" y="207722"/>
                    </a:lnTo>
                    <a:lnTo>
                      <a:pt x="79472" y="199863"/>
                    </a:lnTo>
                    <a:lnTo>
                      <a:pt x="71546" y="187150"/>
                    </a:lnTo>
                    <a:lnTo>
                      <a:pt x="68647" y="169900"/>
                    </a:lnTo>
                    <a:lnTo>
                      <a:pt x="71546" y="152597"/>
                    </a:lnTo>
                    <a:lnTo>
                      <a:pt x="79472" y="139758"/>
                    </a:lnTo>
                    <a:lnTo>
                      <a:pt x="91268" y="131771"/>
                    </a:lnTo>
                    <a:lnTo>
                      <a:pt x="105776" y="129022"/>
                    </a:lnTo>
                    <a:lnTo>
                      <a:pt x="210422" y="129022"/>
                    </a:lnTo>
                    <a:lnTo>
                      <a:pt x="210422" y="93012"/>
                    </a:lnTo>
                    <a:lnTo>
                      <a:pt x="141398" y="93012"/>
                    </a:lnTo>
                    <a:lnTo>
                      <a:pt x="132422" y="84686"/>
                    </a:lnTo>
                    <a:lnTo>
                      <a:pt x="120775" y="78434"/>
                    </a:lnTo>
                    <a:lnTo>
                      <a:pt x="106597" y="74503"/>
                    </a:lnTo>
                    <a:lnTo>
                      <a:pt x="90028" y="73139"/>
                    </a:lnTo>
                    <a:close/>
                  </a:path>
                  <a:path w="210819" h="266064">
                    <a:moveTo>
                      <a:pt x="210422" y="242673"/>
                    </a:moveTo>
                    <a:lnTo>
                      <a:pt x="145911" y="242673"/>
                    </a:lnTo>
                    <a:lnTo>
                      <a:pt x="148906" y="262546"/>
                    </a:lnTo>
                    <a:lnTo>
                      <a:pt x="210422" y="262546"/>
                    </a:lnTo>
                    <a:lnTo>
                      <a:pt x="210422" y="242673"/>
                    </a:lnTo>
                    <a:close/>
                  </a:path>
                  <a:path w="210819" h="266064">
                    <a:moveTo>
                      <a:pt x="210422" y="129022"/>
                    </a:moveTo>
                    <a:lnTo>
                      <a:pt x="105776" y="129022"/>
                    </a:lnTo>
                    <a:lnTo>
                      <a:pt x="121862" y="132538"/>
                    </a:lnTo>
                    <a:lnTo>
                      <a:pt x="133482" y="141961"/>
                    </a:lnTo>
                    <a:lnTo>
                      <a:pt x="140533" y="155606"/>
                    </a:lnTo>
                    <a:lnTo>
                      <a:pt x="142906" y="171785"/>
                    </a:lnTo>
                    <a:lnTo>
                      <a:pt x="140373" y="186046"/>
                    </a:lnTo>
                    <a:lnTo>
                      <a:pt x="133058" y="198410"/>
                    </a:lnTo>
                    <a:lnTo>
                      <a:pt x="121385" y="207118"/>
                    </a:lnTo>
                    <a:lnTo>
                      <a:pt x="105776" y="210412"/>
                    </a:lnTo>
                    <a:lnTo>
                      <a:pt x="210422" y="210412"/>
                    </a:lnTo>
                    <a:lnTo>
                      <a:pt x="210422" y="129022"/>
                    </a:lnTo>
                    <a:close/>
                  </a:path>
                  <a:path w="210819" h="266064">
                    <a:moveTo>
                      <a:pt x="210422" y="0"/>
                    </a:moveTo>
                    <a:lnTo>
                      <a:pt x="141398" y="0"/>
                    </a:lnTo>
                    <a:lnTo>
                      <a:pt x="141398" y="93012"/>
                    </a:lnTo>
                    <a:lnTo>
                      <a:pt x="210422" y="93012"/>
                    </a:lnTo>
                    <a:lnTo>
                      <a:pt x="210422" y="0"/>
                    </a:lnTo>
                    <a:close/>
                  </a:path>
                </a:pathLst>
              </a:custGeom>
              <a:solidFill>
                <a:srgbClr val="FFFFFF"/>
              </a:solidFill>
            </p:spPr>
            <p:txBody>
              <a:bodyPr wrap="square" lIns="0" tIns="0" rIns="0" bIns="0" rtlCol="0"/>
              <a:lstStyle/>
              <a:p>
                <a:endParaRPr/>
              </a:p>
            </p:txBody>
          </p:sp>
          <p:pic>
            <p:nvPicPr>
              <p:cNvPr id="25" name="object 26">
                <a:extLst>
                  <a:ext uri="{FF2B5EF4-FFF2-40B4-BE49-F238E27FC236}">
                    <a16:creationId xmlns:a16="http://schemas.microsoft.com/office/drawing/2014/main" id="{90C9401A-8406-DEAF-6D5E-3A8B462C4823}"/>
                  </a:ext>
                </a:extLst>
              </p:cNvPr>
              <p:cNvPicPr/>
              <p:nvPr/>
            </p:nvPicPr>
            <p:blipFill>
              <a:blip r:embed="rId7" cstate="print"/>
              <a:stretch>
                <a:fillRect/>
              </a:stretch>
            </p:blipFill>
            <p:spPr>
              <a:xfrm>
                <a:off x="2851240" y="1578300"/>
                <a:ext cx="212674" cy="192779"/>
              </a:xfrm>
              <a:prstGeom prst="rect">
                <a:avLst/>
              </a:prstGeom>
            </p:spPr>
          </p:pic>
          <p:sp>
            <p:nvSpPr>
              <p:cNvPr id="26" name="object 27">
                <a:extLst>
                  <a:ext uri="{FF2B5EF4-FFF2-40B4-BE49-F238E27FC236}">
                    <a16:creationId xmlns:a16="http://schemas.microsoft.com/office/drawing/2014/main" id="{F5811A85-A241-BAF8-33B6-ADA150D32321}"/>
                  </a:ext>
                </a:extLst>
              </p:cNvPr>
              <p:cNvSpPr/>
              <p:nvPr/>
            </p:nvSpPr>
            <p:spPr>
              <a:xfrm>
                <a:off x="3104459" y="1578296"/>
                <a:ext cx="292735" cy="189865"/>
              </a:xfrm>
              <a:custGeom>
                <a:avLst/>
                <a:gdLst/>
                <a:ahLst/>
                <a:cxnLst/>
                <a:rect l="l" t="t" r="r" b="b"/>
                <a:pathLst>
                  <a:path w="292735" h="189864">
                    <a:moveTo>
                      <a:pt x="221658" y="0"/>
                    </a:moveTo>
                    <a:lnTo>
                      <a:pt x="203448" y="1470"/>
                    </a:lnTo>
                    <a:lnTo>
                      <a:pt x="187104" y="6141"/>
                    </a:lnTo>
                    <a:lnTo>
                      <a:pt x="172660" y="14400"/>
                    </a:lnTo>
                    <a:lnTo>
                      <a:pt x="160152" y="26637"/>
                    </a:lnTo>
                    <a:lnTo>
                      <a:pt x="151618" y="15301"/>
                    </a:lnTo>
                    <a:lnTo>
                      <a:pt x="140595" y="7169"/>
                    </a:lnTo>
                    <a:lnTo>
                      <a:pt x="127816" y="2206"/>
                    </a:lnTo>
                    <a:lnTo>
                      <a:pt x="114017" y="376"/>
                    </a:lnTo>
                    <a:lnTo>
                      <a:pt x="99607" y="1641"/>
                    </a:lnTo>
                    <a:lnTo>
                      <a:pt x="85695" y="6001"/>
                    </a:lnTo>
                    <a:lnTo>
                      <a:pt x="73190" y="13456"/>
                    </a:lnTo>
                    <a:lnTo>
                      <a:pt x="63003" y="24009"/>
                    </a:lnTo>
                    <a:lnTo>
                      <a:pt x="58134" y="4125"/>
                    </a:lnTo>
                    <a:lnTo>
                      <a:pt x="0" y="4125"/>
                    </a:lnTo>
                    <a:lnTo>
                      <a:pt x="0" y="189407"/>
                    </a:lnTo>
                    <a:lnTo>
                      <a:pt x="68636" y="189407"/>
                    </a:lnTo>
                    <a:lnTo>
                      <a:pt x="68636" y="87766"/>
                    </a:lnTo>
                    <a:lnTo>
                      <a:pt x="70964" y="74593"/>
                    </a:lnTo>
                    <a:lnTo>
                      <a:pt x="76599" y="65356"/>
                    </a:lnTo>
                    <a:lnTo>
                      <a:pt x="84347" y="59916"/>
                    </a:lnTo>
                    <a:lnTo>
                      <a:pt x="93012" y="58134"/>
                    </a:lnTo>
                    <a:lnTo>
                      <a:pt x="101282" y="59582"/>
                    </a:lnTo>
                    <a:lnTo>
                      <a:pt x="107407" y="64372"/>
                    </a:lnTo>
                    <a:lnTo>
                      <a:pt x="111212" y="73171"/>
                    </a:lnTo>
                    <a:lnTo>
                      <a:pt x="112520" y="86646"/>
                    </a:lnTo>
                    <a:lnTo>
                      <a:pt x="112520" y="189407"/>
                    </a:lnTo>
                    <a:lnTo>
                      <a:pt x="180392" y="189407"/>
                    </a:lnTo>
                    <a:lnTo>
                      <a:pt x="180392" y="87390"/>
                    </a:lnTo>
                    <a:lnTo>
                      <a:pt x="182509" y="74452"/>
                    </a:lnTo>
                    <a:lnTo>
                      <a:pt x="188038" y="65733"/>
                    </a:lnTo>
                    <a:lnTo>
                      <a:pt x="195747" y="60811"/>
                    </a:lnTo>
                    <a:lnTo>
                      <a:pt x="204402" y="59265"/>
                    </a:lnTo>
                    <a:lnTo>
                      <a:pt x="211662" y="60800"/>
                    </a:lnTo>
                    <a:lnTo>
                      <a:pt x="217764" y="65640"/>
                    </a:lnTo>
                    <a:lnTo>
                      <a:pt x="221967" y="74138"/>
                    </a:lnTo>
                    <a:lnTo>
                      <a:pt x="223532" y="86646"/>
                    </a:lnTo>
                    <a:lnTo>
                      <a:pt x="223532" y="189407"/>
                    </a:lnTo>
                    <a:lnTo>
                      <a:pt x="292535" y="189407"/>
                    </a:lnTo>
                    <a:lnTo>
                      <a:pt x="292535" y="86259"/>
                    </a:lnTo>
                    <a:lnTo>
                      <a:pt x="287103" y="46833"/>
                    </a:lnTo>
                    <a:lnTo>
                      <a:pt x="272143" y="20064"/>
                    </a:lnTo>
                    <a:lnTo>
                      <a:pt x="249660" y="4828"/>
                    </a:lnTo>
                    <a:lnTo>
                      <a:pt x="221658" y="0"/>
                    </a:lnTo>
                    <a:close/>
                  </a:path>
                </a:pathLst>
              </a:custGeom>
              <a:solidFill>
                <a:srgbClr val="FFFFFF"/>
              </a:solidFill>
            </p:spPr>
            <p:txBody>
              <a:bodyPr wrap="square" lIns="0" tIns="0" rIns="0" bIns="0" rtlCol="0"/>
              <a:lstStyle/>
              <a:p>
                <a:endParaRPr/>
              </a:p>
            </p:txBody>
          </p:sp>
          <p:pic>
            <p:nvPicPr>
              <p:cNvPr id="27" name="object 28">
                <a:extLst>
                  <a:ext uri="{FF2B5EF4-FFF2-40B4-BE49-F238E27FC236}">
                    <a16:creationId xmlns:a16="http://schemas.microsoft.com/office/drawing/2014/main" id="{257208DF-2E83-645E-BA3F-17E9D85910C8}"/>
                  </a:ext>
                </a:extLst>
              </p:cNvPr>
              <p:cNvPicPr/>
              <p:nvPr/>
            </p:nvPicPr>
            <p:blipFill>
              <a:blip r:embed="rId8" cstate="print"/>
              <a:stretch>
                <a:fillRect/>
              </a:stretch>
            </p:blipFill>
            <p:spPr>
              <a:xfrm>
                <a:off x="3425177" y="1578300"/>
                <a:ext cx="212663" cy="192779"/>
              </a:xfrm>
              <a:prstGeom prst="rect">
                <a:avLst/>
              </a:prstGeom>
            </p:spPr>
          </p:pic>
        </p:grpSp>
        <p:grpSp>
          <p:nvGrpSpPr>
            <p:cNvPr id="16" name="object 29">
              <a:extLst>
                <a:ext uri="{FF2B5EF4-FFF2-40B4-BE49-F238E27FC236}">
                  <a16:creationId xmlns:a16="http://schemas.microsoft.com/office/drawing/2014/main" id="{2AEA80B6-32AC-5944-98FF-25284C1CCB15}"/>
                </a:ext>
              </a:extLst>
            </p:cNvPr>
            <p:cNvGrpSpPr/>
            <p:nvPr/>
          </p:nvGrpSpPr>
          <p:grpSpPr>
            <a:xfrm>
              <a:off x="2610412" y="1833996"/>
              <a:ext cx="1026794" cy="174625"/>
              <a:chOff x="2610412" y="1833996"/>
              <a:chExt cx="1026794" cy="174625"/>
            </a:xfrm>
          </p:grpSpPr>
          <p:pic>
            <p:nvPicPr>
              <p:cNvPr id="19" name="object 30">
                <a:extLst>
                  <a:ext uri="{FF2B5EF4-FFF2-40B4-BE49-F238E27FC236}">
                    <a16:creationId xmlns:a16="http://schemas.microsoft.com/office/drawing/2014/main" id="{E80BFF31-7876-EDEE-2979-A99BBDAECDFD}"/>
                  </a:ext>
                </a:extLst>
              </p:cNvPr>
              <p:cNvPicPr/>
              <p:nvPr/>
            </p:nvPicPr>
            <p:blipFill>
              <a:blip r:embed="rId9" cstate="print"/>
              <a:stretch>
                <a:fillRect/>
              </a:stretch>
            </p:blipFill>
            <p:spPr>
              <a:xfrm>
                <a:off x="2610412" y="1882195"/>
                <a:ext cx="139440" cy="126414"/>
              </a:xfrm>
              <a:prstGeom prst="rect">
                <a:avLst/>
              </a:prstGeom>
            </p:spPr>
          </p:pic>
          <p:sp>
            <p:nvSpPr>
              <p:cNvPr id="20" name="object 31">
                <a:extLst>
                  <a:ext uri="{FF2B5EF4-FFF2-40B4-BE49-F238E27FC236}">
                    <a16:creationId xmlns:a16="http://schemas.microsoft.com/office/drawing/2014/main" id="{7C2B64A7-13AD-B4CA-FA40-EE7F2DDBB39C}"/>
                  </a:ext>
                </a:extLst>
              </p:cNvPr>
              <p:cNvSpPr/>
              <p:nvPr/>
            </p:nvSpPr>
            <p:spPr>
              <a:xfrm>
                <a:off x="2776436" y="1834000"/>
                <a:ext cx="170815" cy="172720"/>
              </a:xfrm>
              <a:custGeom>
                <a:avLst/>
                <a:gdLst/>
                <a:ahLst/>
                <a:cxnLst/>
                <a:rect l="l" t="t" r="r" b="b"/>
                <a:pathLst>
                  <a:path w="170814" h="172719">
                    <a:moveTo>
                      <a:pt x="44754" y="0"/>
                    </a:moveTo>
                    <a:lnTo>
                      <a:pt x="0" y="0"/>
                    </a:lnTo>
                    <a:lnTo>
                      <a:pt x="0" y="172389"/>
                    </a:lnTo>
                    <a:lnTo>
                      <a:pt x="44754" y="172389"/>
                    </a:lnTo>
                    <a:lnTo>
                      <a:pt x="44754" y="0"/>
                    </a:lnTo>
                    <a:close/>
                  </a:path>
                  <a:path w="170814" h="172719">
                    <a:moveTo>
                      <a:pt x="170192" y="83121"/>
                    </a:moveTo>
                    <a:lnTo>
                      <a:pt x="71323" y="83121"/>
                    </a:lnTo>
                    <a:lnTo>
                      <a:pt x="71323" y="119024"/>
                    </a:lnTo>
                    <a:lnTo>
                      <a:pt x="170192" y="119024"/>
                    </a:lnTo>
                    <a:lnTo>
                      <a:pt x="170192" y="83121"/>
                    </a:lnTo>
                    <a:close/>
                  </a:path>
                </a:pathLst>
              </a:custGeom>
              <a:solidFill>
                <a:srgbClr val="FFFFFF"/>
              </a:solidFill>
            </p:spPr>
            <p:txBody>
              <a:bodyPr wrap="square" lIns="0" tIns="0" rIns="0" bIns="0" rtlCol="0"/>
              <a:lstStyle/>
              <a:p>
                <a:endParaRPr/>
              </a:p>
            </p:txBody>
          </p:sp>
          <p:pic>
            <p:nvPicPr>
              <p:cNvPr id="21" name="object 32">
                <a:extLst>
                  <a:ext uri="{FF2B5EF4-FFF2-40B4-BE49-F238E27FC236}">
                    <a16:creationId xmlns:a16="http://schemas.microsoft.com/office/drawing/2014/main" id="{F9257373-D02E-4BFA-DF0D-7F55C27D581A}"/>
                  </a:ext>
                </a:extLst>
              </p:cNvPr>
              <p:cNvPicPr/>
              <p:nvPr/>
            </p:nvPicPr>
            <p:blipFill>
              <a:blip r:embed="rId10" cstate="print"/>
              <a:stretch>
                <a:fillRect/>
              </a:stretch>
            </p:blipFill>
            <p:spPr>
              <a:xfrm>
                <a:off x="2966576" y="1882195"/>
                <a:ext cx="139451" cy="126414"/>
              </a:xfrm>
              <a:prstGeom prst="rect">
                <a:avLst/>
              </a:prstGeom>
            </p:spPr>
          </p:pic>
          <p:pic>
            <p:nvPicPr>
              <p:cNvPr id="22" name="object 33">
                <a:extLst>
                  <a:ext uri="{FF2B5EF4-FFF2-40B4-BE49-F238E27FC236}">
                    <a16:creationId xmlns:a16="http://schemas.microsoft.com/office/drawing/2014/main" id="{9C0876BB-4AF0-16D1-DBC0-0009668D2869}"/>
                  </a:ext>
                </a:extLst>
              </p:cNvPr>
              <p:cNvPicPr/>
              <p:nvPr/>
            </p:nvPicPr>
            <p:blipFill>
              <a:blip r:embed="rId11" cstate="print"/>
              <a:stretch>
                <a:fillRect/>
              </a:stretch>
            </p:blipFill>
            <p:spPr>
              <a:xfrm>
                <a:off x="3132608" y="1882195"/>
                <a:ext cx="349757" cy="126414"/>
              </a:xfrm>
              <a:prstGeom prst="rect">
                <a:avLst/>
              </a:prstGeom>
            </p:spPr>
          </p:pic>
          <p:pic>
            <p:nvPicPr>
              <p:cNvPr id="23" name="object 34">
                <a:extLst>
                  <a:ext uri="{FF2B5EF4-FFF2-40B4-BE49-F238E27FC236}">
                    <a16:creationId xmlns:a16="http://schemas.microsoft.com/office/drawing/2014/main" id="{D4F59A0E-386F-3F0A-C259-AB1EF4A7F5B6}"/>
                  </a:ext>
                </a:extLst>
              </p:cNvPr>
              <p:cNvPicPr/>
              <p:nvPr/>
            </p:nvPicPr>
            <p:blipFill>
              <a:blip r:embed="rId12" cstate="print"/>
              <a:stretch>
                <a:fillRect/>
              </a:stretch>
            </p:blipFill>
            <p:spPr>
              <a:xfrm>
                <a:off x="3508943" y="1881956"/>
                <a:ext cx="127891" cy="124436"/>
              </a:xfrm>
              <a:prstGeom prst="rect">
                <a:avLst/>
              </a:prstGeom>
            </p:spPr>
          </p:pic>
        </p:grpSp>
        <p:pic>
          <p:nvPicPr>
            <p:cNvPr id="17" name="object 35">
              <a:extLst>
                <a:ext uri="{FF2B5EF4-FFF2-40B4-BE49-F238E27FC236}">
                  <a16:creationId xmlns:a16="http://schemas.microsoft.com/office/drawing/2014/main" id="{EA1E079C-5EF8-988F-DA69-71E9B7DB4DBE}"/>
                </a:ext>
              </a:extLst>
            </p:cNvPr>
            <p:cNvPicPr/>
            <p:nvPr/>
          </p:nvPicPr>
          <p:blipFill>
            <a:blip r:embed="rId13" cstate="print"/>
            <a:stretch>
              <a:fillRect/>
            </a:stretch>
          </p:blipFill>
          <p:spPr>
            <a:xfrm>
              <a:off x="4038486" y="1740230"/>
              <a:ext cx="636371" cy="352695"/>
            </a:xfrm>
            <a:prstGeom prst="rect">
              <a:avLst/>
            </a:prstGeom>
          </p:spPr>
        </p:pic>
        <p:sp>
          <p:nvSpPr>
            <p:cNvPr id="18" name="object 36">
              <a:extLst>
                <a:ext uri="{FF2B5EF4-FFF2-40B4-BE49-F238E27FC236}">
                  <a16:creationId xmlns:a16="http://schemas.microsoft.com/office/drawing/2014/main" id="{1A61317D-1CFE-8D48-B933-A576BDFB2462}"/>
                </a:ext>
              </a:extLst>
            </p:cNvPr>
            <p:cNvSpPr/>
            <p:nvPr/>
          </p:nvSpPr>
          <p:spPr>
            <a:xfrm>
              <a:off x="4185526" y="1207458"/>
              <a:ext cx="357505" cy="449580"/>
            </a:xfrm>
            <a:custGeom>
              <a:avLst/>
              <a:gdLst/>
              <a:ahLst/>
              <a:cxnLst/>
              <a:rect l="l" t="t" r="r" b="b"/>
              <a:pathLst>
                <a:path w="357504" h="449580">
                  <a:moveTo>
                    <a:pt x="200850" y="404609"/>
                  </a:moveTo>
                  <a:lnTo>
                    <a:pt x="162991" y="404202"/>
                  </a:lnTo>
                  <a:lnTo>
                    <a:pt x="149466" y="404202"/>
                  </a:lnTo>
                  <a:lnTo>
                    <a:pt x="94107" y="404609"/>
                  </a:lnTo>
                  <a:lnTo>
                    <a:pt x="200850" y="404609"/>
                  </a:lnTo>
                  <a:close/>
                </a:path>
                <a:path w="357504" h="449580">
                  <a:moveTo>
                    <a:pt x="202615" y="115443"/>
                  </a:moveTo>
                  <a:lnTo>
                    <a:pt x="178269" y="81648"/>
                  </a:lnTo>
                  <a:lnTo>
                    <a:pt x="166992" y="81254"/>
                  </a:lnTo>
                  <a:lnTo>
                    <a:pt x="161112" y="81394"/>
                  </a:lnTo>
                  <a:lnTo>
                    <a:pt x="154000" y="83439"/>
                  </a:lnTo>
                  <a:lnTo>
                    <a:pt x="148932" y="89166"/>
                  </a:lnTo>
                  <a:lnTo>
                    <a:pt x="140500" y="106667"/>
                  </a:lnTo>
                  <a:lnTo>
                    <a:pt x="138709" y="113042"/>
                  </a:lnTo>
                  <a:lnTo>
                    <a:pt x="138747" y="118643"/>
                  </a:lnTo>
                  <a:lnTo>
                    <a:pt x="176022" y="143548"/>
                  </a:lnTo>
                  <a:lnTo>
                    <a:pt x="181013" y="143992"/>
                  </a:lnTo>
                  <a:lnTo>
                    <a:pt x="184873" y="143662"/>
                  </a:lnTo>
                  <a:lnTo>
                    <a:pt x="192659" y="140741"/>
                  </a:lnTo>
                  <a:lnTo>
                    <a:pt x="197154" y="135674"/>
                  </a:lnTo>
                  <a:lnTo>
                    <a:pt x="201853" y="123075"/>
                  </a:lnTo>
                  <a:lnTo>
                    <a:pt x="202615" y="115443"/>
                  </a:lnTo>
                  <a:close/>
                </a:path>
                <a:path w="357504" h="449580">
                  <a:moveTo>
                    <a:pt x="356997" y="449224"/>
                  </a:moveTo>
                  <a:lnTo>
                    <a:pt x="356628" y="404710"/>
                  </a:lnTo>
                  <a:lnTo>
                    <a:pt x="356565" y="397116"/>
                  </a:lnTo>
                  <a:lnTo>
                    <a:pt x="355955" y="369138"/>
                  </a:lnTo>
                  <a:lnTo>
                    <a:pt x="355701" y="357670"/>
                  </a:lnTo>
                  <a:lnTo>
                    <a:pt x="355447" y="345973"/>
                  </a:lnTo>
                  <a:lnTo>
                    <a:pt x="353834" y="293738"/>
                  </a:lnTo>
                  <a:lnTo>
                    <a:pt x="351853" y="235343"/>
                  </a:lnTo>
                  <a:lnTo>
                    <a:pt x="351345" y="220002"/>
                  </a:lnTo>
                  <a:lnTo>
                    <a:pt x="350621" y="197459"/>
                  </a:lnTo>
                  <a:lnTo>
                    <a:pt x="350291" y="184429"/>
                  </a:lnTo>
                  <a:lnTo>
                    <a:pt x="349986" y="172351"/>
                  </a:lnTo>
                  <a:lnTo>
                    <a:pt x="349402" y="149390"/>
                  </a:lnTo>
                  <a:lnTo>
                    <a:pt x="348843" y="103276"/>
                  </a:lnTo>
                  <a:lnTo>
                    <a:pt x="348970" y="81876"/>
                  </a:lnTo>
                  <a:lnTo>
                    <a:pt x="349084" y="64668"/>
                  </a:lnTo>
                  <a:lnTo>
                    <a:pt x="349224" y="52628"/>
                  </a:lnTo>
                  <a:lnTo>
                    <a:pt x="350659" y="7708"/>
                  </a:lnTo>
                  <a:lnTo>
                    <a:pt x="280974" y="6159"/>
                  </a:lnTo>
                  <a:lnTo>
                    <a:pt x="280974" y="371221"/>
                  </a:lnTo>
                  <a:lnTo>
                    <a:pt x="280924" y="403618"/>
                  </a:lnTo>
                  <a:lnTo>
                    <a:pt x="261175" y="404228"/>
                  </a:lnTo>
                  <a:lnTo>
                    <a:pt x="238747" y="404596"/>
                  </a:lnTo>
                  <a:lnTo>
                    <a:pt x="220332" y="404710"/>
                  </a:lnTo>
                  <a:lnTo>
                    <a:pt x="94107" y="404609"/>
                  </a:lnTo>
                  <a:lnTo>
                    <a:pt x="93764" y="404609"/>
                  </a:lnTo>
                  <a:lnTo>
                    <a:pt x="78333" y="404596"/>
                  </a:lnTo>
                  <a:lnTo>
                    <a:pt x="77673" y="392785"/>
                  </a:lnTo>
                  <a:lnTo>
                    <a:pt x="76047" y="375450"/>
                  </a:lnTo>
                  <a:lnTo>
                    <a:pt x="80924" y="370078"/>
                  </a:lnTo>
                  <a:lnTo>
                    <a:pt x="83985" y="370179"/>
                  </a:lnTo>
                  <a:lnTo>
                    <a:pt x="86283" y="370090"/>
                  </a:lnTo>
                  <a:lnTo>
                    <a:pt x="92646" y="370141"/>
                  </a:lnTo>
                  <a:lnTo>
                    <a:pt x="96735" y="370090"/>
                  </a:lnTo>
                  <a:lnTo>
                    <a:pt x="97561" y="370078"/>
                  </a:lnTo>
                  <a:lnTo>
                    <a:pt x="132308" y="369912"/>
                  </a:lnTo>
                  <a:lnTo>
                    <a:pt x="136017" y="369925"/>
                  </a:lnTo>
                  <a:lnTo>
                    <a:pt x="137490" y="369874"/>
                  </a:lnTo>
                  <a:lnTo>
                    <a:pt x="165011" y="369138"/>
                  </a:lnTo>
                  <a:lnTo>
                    <a:pt x="258127" y="370509"/>
                  </a:lnTo>
                  <a:lnTo>
                    <a:pt x="280974" y="371221"/>
                  </a:lnTo>
                  <a:lnTo>
                    <a:pt x="280974" y="6159"/>
                  </a:lnTo>
                  <a:lnTo>
                    <a:pt x="274574" y="6019"/>
                  </a:lnTo>
                  <a:lnTo>
                    <a:pt x="274574" y="186524"/>
                  </a:lnTo>
                  <a:lnTo>
                    <a:pt x="274535" y="218922"/>
                  </a:lnTo>
                  <a:lnTo>
                    <a:pt x="257937" y="219430"/>
                  </a:lnTo>
                  <a:lnTo>
                    <a:pt x="257937" y="308737"/>
                  </a:lnTo>
                  <a:lnTo>
                    <a:pt x="255638" y="316890"/>
                  </a:lnTo>
                  <a:lnTo>
                    <a:pt x="247611" y="333070"/>
                  </a:lnTo>
                  <a:lnTo>
                    <a:pt x="234302" y="345998"/>
                  </a:lnTo>
                  <a:lnTo>
                    <a:pt x="217284" y="354571"/>
                  </a:lnTo>
                  <a:lnTo>
                    <a:pt x="198107" y="357670"/>
                  </a:lnTo>
                  <a:lnTo>
                    <a:pt x="194906" y="357670"/>
                  </a:lnTo>
                  <a:lnTo>
                    <a:pt x="191719" y="357403"/>
                  </a:lnTo>
                  <a:lnTo>
                    <a:pt x="180949" y="355625"/>
                  </a:lnTo>
                  <a:lnTo>
                    <a:pt x="186550" y="326923"/>
                  </a:lnTo>
                  <a:lnTo>
                    <a:pt x="193802" y="328129"/>
                  </a:lnTo>
                  <a:lnTo>
                    <a:pt x="204139" y="327850"/>
                  </a:lnTo>
                  <a:lnTo>
                    <a:pt x="227571" y="304761"/>
                  </a:lnTo>
                  <a:lnTo>
                    <a:pt x="227457" y="288963"/>
                  </a:lnTo>
                  <a:lnTo>
                    <a:pt x="227304" y="284759"/>
                  </a:lnTo>
                  <a:lnTo>
                    <a:pt x="224459" y="277571"/>
                  </a:lnTo>
                  <a:lnTo>
                    <a:pt x="220129" y="273608"/>
                  </a:lnTo>
                  <a:lnTo>
                    <a:pt x="209245" y="268503"/>
                  </a:lnTo>
                  <a:lnTo>
                    <a:pt x="206324" y="267131"/>
                  </a:lnTo>
                  <a:lnTo>
                    <a:pt x="199059" y="265125"/>
                  </a:lnTo>
                  <a:lnTo>
                    <a:pt x="192570" y="264845"/>
                  </a:lnTo>
                  <a:lnTo>
                    <a:pt x="176136" y="264541"/>
                  </a:lnTo>
                  <a:lnTo>
                    <a:pt x="160070" y="264871"/>
                  </a:lnTo>
                  <a:lnTo>
                    <a:pt x="144335" y="265633"/>
                  </a:lnTo>
                  <a:lnTo>
                    <a:pt x="108051" y="267855"/>
                  </a:lnTo>
                  <a:lnTo>
                    <a:pt x="93599" y="268503"/>
                  </a:lnTo>
                  <a:lnTo>
                    <a:pt x="92163" y="239356"/>
                  </a:lnTo>
                  <a:lnTo>
                    <a:pt x="106400" y="238709"/>
                  </a:lnTo>
                  <a:lnTo>
                    <a:pt x="142862" y="236474"/>
                  </a:lnTo>
                  <a:lnTo>
                    <a:pt x="159385" y="235686"/>
                  </a:lnTo>
                  <a:lnTo>
                    <a:pt x="176364" y="235343"/>
                  </a:lnTo>
                  <a:lnTo>
                    <a:pt x="193929" y="235686"/>
                  </a:lnTo>
                  <a:lnTo>
                    <a:pt x="236613" y="249783"/>
                  </a:lnTo>
                  <a:lnTo>
                    <a:pt x="257810" y="286334"/>
                  </a:lnTo>
                  <a:lnTo>
                    <a:pt x="257937" y="308737"/>
                  </a:lnTo>
                  <a:lnTo>
                    <a:pt x="257937" y="219430"/>
                  </a:lnTo>
                  <a:lnTo>
                    <a:pt x="254787" y="219519"/>
                  </a:lnTo>
                  <a:lnTo>
                    <a:pt x="241109" y="219798"/>
                  </a:lnTo>
                  <a:lnTo>
                    <a:pt x="213931" y="220002"/>
                  </a:lnTo>
                  <a:lnTo>
                    <a:pt x="89687" y="219913"/>
                  </a:lnTo>
                  <a:lnTo>
                    <a:pt x="195097" y="219913"/>
                  </a:lnTo>
                  <a:lnTo>
                    <a:pt x="156591" y="219506"/>
                  </a:lnTo>
                  <a:lnTo>
                    <a:pt x="143065" y="219506"/>
                  </a:lnTo>
                  <a:lnTo>
                    <a:pt x="87541" y="219913"/>
                  </a:lnTo>
                  <a:lnTo>
                    <a:pt x="87337" y="219913"/>
                  </a:lnTo>
                  <a:lnTo>
                    <a:pt x="71945" y="219900"/>
                  </a:lnTo>
                  <a:lnTo>
                    <a:pt x="71285" y="208076"/>
                  </a:lnTo>
                  <a:lnTo>
                    <a:pt x="69634" y="190754"/>
                  </a:lnTo>
                  <a:lnTo>
                    <a:pt x="74510" y="185420"/>
                  </a:lnTo>
                  <a:lnTo>
                    <a:pt x="86677" y="185394"/>
                  </a:lnTo>
                  <a:lnTo>
                    <a:pt x="129933" y="185178"/>
                  </a:lnTo>
                  <a:lnTo>
                    <a:pt x="158597" y="184429"/>
                  </a:lnTo>
                  <a:lnTo>
                    <a:pt x="242557" y="185623"/>
                  </a:lnTo>
                  <a:lnTo>
                    <a:pt x="274574" y="186524"/>
                  </a:lnTo>
                  <a:lnTo>
                    <a:pt x="274574" y="6019"/>
                  </a:lnTo>
                  <a:lnTo>
                    <a:pt x="230771" y="5041"/>
                  </a:lnTo>
                  <a:lnTo>
                    <a:pt x="230771" y="113563"/>
                  </a:lnTo>
                  <a:lnTo>
                    <a:pt x="230200" y="122885"/>
                  </a:lnTo>
                  <a:lnTo>
                    <a:pt x="214858" y="157924"/>
                  </a:lnTo>
                  <a:lnTo>
                    <a:pt x="186575" y="172351"/>
                  </a:lnTo>
                  <a:lnTo>
                    <a:pt x="177927" y="172351"/>
                  </a:lnTo>
                  <a:lnTo>
                    <a:pt x="130213" y="156857"/>
                  </a:lnTo>
                  <a:lnTo>
                    <a:pt x="110134" y="118897"/>
                  </a:lnTo>
                  <a:lnTo>
                    <a:pt x="110604" y="111201"/>
                  </a:lnTo>
                  <a:lnTo>
                    <a:pt x="125361" y="74383"/>
                  </a:lnTo>
                  <a:lnTo>
                    <a:pt x="161683" y="52717"/>
                  </a:lnTo>
                  <a:lnTo>
                    <a:pt x="166497" y="52628"/>
                  </a:lnTo>
                  <a:lnTo>
                    <a:pt x="185293" y="53746"/>
                  </a:lnTo>
                  <a:lnTo>
                    <a:pt x="222123" y="74574"/>
                  </a:lnTo>
                  <a:lnTo>
                    <a:pt x="230771" y="113563"/>
                  </a:lnTo>
                  <a:lnTo>
                    <a:pt x="230771" y="5041"/>
                  </a:lnTo>
                  <a:lnTo>
                    <a:pt x="4483" y="0"/>
                  </a:lnTo>
                  <a:lnTo>
                    <a:pt x="4089" y="47879"/>
                  </a:lnTo>
                  <a:lnTo>
                    <a:pt x="3124" y="96608"/>
                  </a:lnTo>
                  <a:lnTo>
                    <a:pt x="736" y="198450"/>
                  </a:lnTo>
                  <a:lnTo>
                    <a:pt x="127" y="239356"/>
                  </a:lnTo>
                  <a:lnTo>
                    <a:pt x="0" y="304761"/>
                  </a:lnTo>
                  <a:lnTo>
                    <a:pt x="914" y="351256"/>
                  </a:lnTo>
                  <a:lnTo>
                    <a:pt x="3263" y="400888"/>
                  </a:lnTo>
                  <a:lnTo>
                    <a:pt x="7289" y="449224"/>
                  </a:lnTo>
                  <a:lnTo>
                    <a:pt x="356997" y="449224"/>
                  </a:lnTo>
                  <a:close/>
                </a:path>
              </a:pathLst>
            </a:custGeom>
            <a:solidFill>
              <a:srgbClr val="FFFFFF"/>
            </a:solidFill>
          </p:spPr>
          <p:txBody>
            <a:bodyPr wrap="square" lIns="0" tIns="0" rIns="0" bIns="0" rtlCol="0"/>
            <a:lstStyle/>
            <a:p>
              <a:endParaRPr/>
            </a:p>
          </p:txBody>
        </p:sp>
      </p:grpSp>
    </p:spTree>
    <p:extLst>
      <p:ext uri="{BB962C8B-B14F-4D97-AF65-F5344CB8AC3E}">
        <p14:creationId xmlns:p14="http://schemas.microsoft.com/office/powerpoint/2010/main" val="30425326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pSp>
        <p:nvGrpSpPr>
          <p:cNvPr id="38" name="object 2">
            <a:extLst>
              <a:ext uri="{FF2B5EF4-FFF2-40B4-BE49-F238E27FC236}">
                <a16:creationId xmlns:a16="http://schemas.microsoft.com/office/drawing/2014/main" id="{886606B9-0C4F-F3AB-C628-66F91FDCE194}"/>
              </a:ext>
            </a:extLst>
          </p:cNvPr>
          <p:cNvGrpSpPr/>
          <p:nvPr userDrawn="1"/>
        </p:nvGrpSpPr>
        <p:grpSpPr>
          <a:xfrm>
            <a:off x="10777713" y="0"/>
            <a:ext cx="9326880" cy="11301095"/>
            <a:chOff x="10777713" y="0"/>
            <a:chExt cx="9326880" cy="11301095"/>
          </a:xfrm>
        </p:grpSpPr>
        <p:sp>
          <p:nvSpPr>
            <p:cNvPr id="39" name="object 3">
              <a:extLst>
                <a:ext uri="{FF2B5EF4-FFF2-40B4-BE49-F238E27FC236}">
                  <a16:creationId xmlns:a16="http://schemas.microsoft.com/office/drawing/2014/main" id="{4110E857-4A43-7EF3-49E1-E8F7583372C7}"/>
                </a:ext>
              </a:extLst>
            </p:cNvPr>
            <p:cNvSpPr/>
            <p:nvPr/>
          </p:nvSpPr>
          <p:spPr>
            <a:xfrm>
              <a:off x="10777713" y="0"/>
              <a:ext cx="9326880" cy="11301095"/>
            </a:xfrm>
            <a:custGeom>
              <a:avLst/>
              <a:gdLst/>
              <a:ahLst/>
              <a:cxnLst/>
              <a:rect l="l" t="t" r="r" b="b"/>
              <a:pathLst>
                <a:path w="9326880" h="11301095">
                  <a:moveTo>
                    <a:pt x="9326386" y="0"/>
                  </a:moveTo>
                  <a:lnTo>
                    <a:pt x="0" y="0"/>
                  </a:lnTo>
                  <a:lnTo>
                    <a:pt x="0" y="11300891"/>
                  </a:lnTo>
                  <a:lnTo>
                    <a:pt x="9326386" y="11300891"/>
                  </a:lnTo>
                  <a:lnTo>
                    <a:pt x="9326386" y="0"/>
                  </a:lnTo>
                  <a:close/>
                </a:path>
              </a:pathLst>
            </a:custGeom>
            <a:solidFill>
              <a:srgbClr val="EB9F92"/>
            </a:solidFill>
          </p:spPr>
          <p:txBody>
            <a:bodyPr wrap="square" lIns="0" tIns="0" rIns="0" bIns="0" rtlCol="0"/>
            <a:lstStyle/>
            <a:p>
              <a:pPr algn="l" rtl="0"/>
              <a:endParaRPr/>
            </a:p>
          </p:txBody>
        </p:sp>
        <p:sp>
          <p:nvSpPr>
            <p:cNvPr id="40" name="object 4">
              <a:extLst>
                <a:ext uri="{FF2B5EF4-FFF2-40B4-BE49-F238E27FC236}">
                  <a16:creationId xmlns:a16="http://schemas.microsoft.com/office/drawing/2014/main" id="{A34F3736-4836-E1D6-2B3E-785C26654D5A}"/>
                </a:ext>
              </a:extLst>
            </p:cNvPr>
            <p:cNvSpPr/>
            <p:nvPr/>
          </p:nvSpPr>
          <p:spPr>
            <a:xfrm>
              <a:off x="13079439" y="2874362"/>
              <a:ext cx="4749800" cy="5174615"/>
            </a:xfrm>
            <a:custGeom>
              <a:avLst/>
              <a:gdLst/>
              <a:ahLst/>
              <a:cxnLst/>
              <a:rect l="l" t="t" r="r" b="b"/>
              <a:pathLst>
                <a:path w="4749800" h="5174615">
                  <a:moveTo>
                    <a:pt x="2374859" y="0"/>
                  </a:moveTo>
                  <a:lnTo>
                    <a:pt x="2326397" y="484"/>
                  </a:lnTo>
                  <a:lnTo>
                    <a:pt x="2278171" y="1932"/>
                  </a:lnTo>
                  <a:lnTo>
                    <a:pt x="2230190" y="4334"/>
                  </a:lnTo>
                  <a:lnTo>
                    <a:pt x="2182464" y="7680"/>
                  </a:lnTo>
                  <a:lnTo>
                    <a:pt x="2135002" y="11962"/>
                  </a:lnTo>
                  <a:lnTo>
                    <a:pt x="2087813" y="17171"/>
                  </a:lnTo>
                  <a:lnTo>
                    <a:pt x="2040906" y="23296"/>
                  </a:lnTo>
                  <a:lnTo>
                    <a:pt x="1994291" y="30330"/>
                  </a:lnTo>
                  <a:lnTo>
                    <a:pt x="1947976" y="38262"/>
                  </a:lnTo>
                  <a:lnTo>
                    <a:pt x="1901972" y="47084"/>
                  </a:lnTo>
                  <a:lnTo>
                    <a:pt x="1856286" y="56786"/>
                  </a:lnTo>
                  <a:lnTo>
                    <a:pt x="1810929" y="67359"/>
                  </a:lnTo>
                  <a:lnTo>
                    <a:pt x="1765910" y="78794"/>
                  </a:lnTo>
                  <a:lnTo>
                    <a:pt x="1721237" y="91082"/>
                  </a:lnTo>
                  <a:lnTo>
                    <a:pt x="1676920" y="104214"/>
                  </a:lnTo>
                  <a:lnTo>
                    <a:pt x="1632968" y="118180"/>
                  </a:lnTo>
                  <a:lnTo>
                    <a:pt x="1589390" y="132971"/>
                  </a:lnTo>
                  <a:lnTo>
                    <a:pt x="1546196" y="148577"/>
                  </a:lnTo>
                  <a:lnTo>
                    <a:pt x="1503394" y="164991"/>
                  </a:lnTo>
                  <a:lnTo>
                    <a:pt x="1460995" y="182202"/>
                  </a:lnTo>
                  <a:lnTo>
                    <a:pt x="1419006" y="200202"/>
                  </a:lnTo>
                  <a:lnTo>
                    <a:pt x="1377438" y="218981"/>
                  </a:lnTo>
                  <a:lnTo>
                    <a:pt x="1336300" y="238529"/>
                  </a:lnTo>
                  <a:lnTo>
                    <a:pt x="1295600" y="258839"/>
                  </a:lnTo>
                  <a:lnTo>
                    <a:pt x="1255348" y="279899"/>
                  </a:lnTo>
                  <a:lnTo>
                    <a:pt x="1215553" y="301703"/>
                  </a:lnTo>
                  <a:lnTo>
                    <a:pt x="1176224" y="324239"/>
                  </a:lnTo>
                  <a:lnTo>
                    <a:pt x="1137371" y="347499"/>
                  </a:lnTo>
                  <a:lnTo>
                    <a:pt x="1099003" y="371474"/>
                  </a:lnTo>
                  <a:lnTo>
                    <a:pt x="1061128" y="396155"/>
                  </a:lnTo>
                  <a:lnTo>
                    <a:pt x="1023757" y="421532"/>
                  </a:lnTo>
                  <a:lnTo>
                    <a:pt x="986898" y="447596"/>
                  </a:lnTo>
                  <a:lnTo>
                    <a:pt x="950561" y="474338"/>
                  </a:lnTo>
                  <a:lnTo>
                    <a:pt x="914754" y="501749"/>
                  </a:lnTo>
                  <a:lnTo>
                    <a:pt x="879487" y="529819"/>
                  </a:lnTo>
                  <a:lnTo>
                    <a:pt x="844769" y="558539"/>
                  </a:lnTo>
                  <a:lnTo>
                    <a:pt x="810610" y="587901"/>
                  </a:lnTo>
                  <a:lnTo>
                    <a:pt x="777018" y="617895"/>
                  </a:lnTo>
                  <a:lnTo>
                    <a:pt x="744003" y="648511"/>
                  </a:lnTo>
                  <a:lnTo>
                    <a:pt x="711574" y="679741"/>
                  </a:lnTo>
                  <a:lnTo>
                    <a:pt x="679740" y="711575"/>
                  </a:lnTo>
                  <a:lnTo>
                    <a:pt x="648510" y="744004"/>
                  </a:lnTo>
                  <a:lnTo>
                    <a:pt x="617894" y="777020"/>
                  </a:lnTo>
                  <a:lnTo>
                    <a:pt x="587900" y="810612"/>
                  </a:lnTo>
                  <a:lnTo>
                    <a:pt x="558538" y="844771"/>
                  </a:lnTo>
                  <a:lnTo>
                    <a:pt x="529818" y="879489"/>
                  </a:lnTo>
                  <a:lnTo>
                    <a:pt x="501748" y="914756"/>
                  </a:lnTo>
                  <a:lnTo>
                    <a:pt x="474337" y="950563"/>
                  </a:lnTo>
                  <a:lnTo>
                    <a:pt x="447595" y="986901"/>
                  </a:lnTo>
                  <a:lnTo>
                    <a:pt x="421531" y="1023760"/>
                  </a:lnTo>
                  <a:lnTo>
                    <a:pt x="396154" y="1061131"/>
                  </a:lnTo>
                  <a:lnTo>
                    <a:pt x="371474" y="1099006"/>
                  </a:lnTo>
                  <a:lnTo>
                    <a:pt x="347499" y="1137374"/>
                  </a:lnTo>
                  <a:lnTo>
                    <a:pt x="324239" y="1176227"/>
                  </a:lnTo>
                  <a:lnTo>
                    <a:pt x="301702" y="1215556"/>
                  </a:lnTo>
                  <a:lnTo>
                    <a:pt x="279899" y="1255351"/>
                  </a:lnTo>
                  <a:lnTo>
                    <a:pt x="258838" y="1295603"/>
                  </a:lnTo>
                  <a:lnTo>
                    <a:pt x="238529" y="1336303"/>
                  </a:lnTo>
                  <a:lnTo>
                    <a:pt x="218980" y="1377442"/>
                  </a:lnTo>
                  <a:lnTo>
                    <a:pt x="200202" y="1419011"/>
                  </a:lnTo>
                  <a:lnTo>
                    <a:pt x="182202" y="1460999"/>
                  </a:lnTo>
                  <a:lnTo>
                    <a:pt x="164991" y="1503399"/>
                  </a:lnTo>
                  <a:lnTo>
                    <a:pt x="148577" y="1546201"/>
                  </a:lnTo>
                  <a:lnTo>
                    <a:pt x="132970" y="1589395"/>
                  </a:lnTo>
                  <a:lnTo>
                    <a:pt x="118179" y="1632973"/>
                  </a:lnTo>
                  <a:lnTo>
                    <a:pt x="104214" y="1676925"/>
                  </a:lnTo>
                  <a:lnTo>
                    <a:pt x="91082" y="1721243"/>
                  </a:lnTo>
                  <a:lnTo>
                    <a:pt x="78794" y="1765916"/>
                  </a:lnTo>
                  <a:lnTo>
                    <a:pt x="67359" y="1810936"/>
                  </a:lnTo>
                  <a:lnTo>
                    <a:pt x="56786" y="1856293"/>
                  </a:lnTo>
                  <a:lnTo>
                    <a:pt x="47084" y="1901979"/>
                  </a:lnTo>
                  <a:lnTo>
                    <a:pt x="38262" y="1947984"/>
                  </a:lnTo>
                  <a:lnTo>
                    <a:pt x="30330" y="1994299"/>
                  </a:lnTo>
                  <a:lnTo>
                    <a:pt x="23296" y="2040914"/>
                  </a:lnTo>
                  <a:lnTo>
                    <a:pt x="17171" y="2087821"/>
                  </a:lnTo>
                  <a:lnTo>
                    <a:pt x="11962" y="2135010"/>
                  </a:lnTo>
                  <a:lnTo>
                    <a:pt x="7680" y="2182473"/>
                  </a:lnTo>
                  <a:lnTo>
                    <a:pt x="4334" y="2230199"/>
                  </a:lnTo>
                  <a:lnTo>
                    <a:pt x="1932" y="2278180"/>
                  </a:lnTo>
                  <a:lnTo>
                    <a:pt x="484" y="2326407"/>
                  </a:lnTo>
                  <a:lnTo>
                    <a:pt x="0" y="2374870"/>
                  </a:lnTo>
                  <a:lnTo>
                    <a:pt x="0" y="5174502"/>
                  </a:lnTo>
                  <a:lnTo>
                    <a:pt x="4749740" y="5174502"/>
                  </a:lnTo>
                  <a:lnTo>
                    <a:pt x="4749740" y="2374870"/>
                  </a:lnTo>
                  <a:lnTo>
                    <a:pt x="4749255" y="2326407"/>
                  </a:lnTo>
                  <a:lnTo>
                    <a:pt x="4747807" y="2278180"/>
                  </a:lnTo>
                  <a:lnTo>
                    <a:pt x="4745406" y="2230199"/>
                  </a:lnTo>
                  <a:lnTo>
                    <a:pt x="4742059" y="2182473"/>
                  </a:lnTo>
                  <a:lnTo>
                    <a:pt x="4737777" y="2135010"/>
                  </a:lnTo>
                  <a:lnTo>
                    <a:pt x="4732569" y="2087821"/>
                  </a:lnTo>
                  <a:lnTo>
                    <a:pt x="4726443" y="2040914"/>
                  </a:lnTo>
                  <a:lnTo>
                    <a:pt x="4719410" y="1994299"/>
                  </a:lnTo>
                  <a:lnTo>
                    <a:pt x="4711477" y="1947984"/>
                  </a:lnTo>
                  <a:lnTo>
                    <a:pt x="4702656" y="1901979"/>
                  </a:lnTo>
                  <a:lnTo>
                    <a:pt x="4692953" y="1856293"/>
                  </a:lnTo>
                  <a:lnTo>
                    <a:pt x="4682380" y="1810936"/>
                  </a:lnTo>
                  <a:lnTo>
                    <a:pt x="4670945" y="1765916"/>
                  </a:lnTo>
                  <a:lnTo>
                    <a:pt x="4658657" y="1721243"/>
                  </a:lnTo>
                  <a:lnTo>
                    <a:pt x="4645525" y="1676925"/>
                  </a:lnTo>
                  <a:lnTo>
                    <a:pt x="4631560" y="1632973"/>
                  </a:lnTo>
                  <a:lnTo>
                    <a:pt x="4616769" y="1589395"/>
                  </a:lnTo>
                  <a:lnTo>
                    <a:pt x="4601162" y="1546201"/>
                  </a:lnTo>
                  <a:lnTo>
                    <a:pt x="4584748" y="1503399"/>
                  </a:lnTo>
                  <a:lnTo>
                    <a:pt x="4567537" y="1460999"/>
                  </a:lnTo>
                  <a:lnTo>
                    <a:pt x="4549537" y="1419011"/>
                  </a:lnTo>
                  <a:lnTo>
                    <a:pt x="4530758" y="1377442"/>
                  </a:lnTo>
                  <a:lnTo>
                    <a:pt x="4511210" y="1336303"/>
                  </a:lnTo>
                  <a:lnTo>
                    <a:pt x="4490900" y="1295603"/>
                  </a:lnTo>
                  <a:lnTo>
                    <a:pt x="4469839" y="1255351"/>
                  </a:lnTo>
                  <a:lnTo>
                    <a:pt x="4448036" y="1215556"/>
                  </a:lnTo>
                  <a:lnTo>
                    <a:pt x="4425500" y="1176227"/>
                  </a:lnTo>
                  <a:lnTo>
                    <a:pt x="4402239" y="1137374"/>
                  </a:lnTo>
                  <a:lnTo>
                    <a:pt x="4378264" y="1099006"/>
                  </a:lnTo>
                  <a:lnTo>
                    <a:pt x="4353584" y="1061131"/>
                  </a:lnTo>
                  <a:lnTo>
                    <a:pt x="4328207" y="1023760"/>
                  </a:lnTo>
                  <a:lnTo>
                    <a:pt x="4302143" y="986901"/>
                  </a:lnTo>
                  <a:lnTo>
                    <a:pt x="4275401" y="950563"/>
                  </a:lnTo>
                  <a:lnTo>
                    <a:pt x="4247990" y="914756"/>
                  </a:lnTo>
                  <a:lnTo>
                    <a:pt x="4219920" y="879489"/>
                  </a:lnTo>
                  <a:lnTo>
                    <a:pt x="4191199" y="844771"/>
                  </a:lnTo>
                  <a:lnTo>
                    <a:pt x="4161837" y="810612"/>
                  </a:lnTo>
                  <a:lnTo>
                    <a:pt x="4131843" y="777020"/>
                  </a:lnTo>
                  <a:lnTo>
                    <a:pt x="4101227" y="744004"/>
                  </a:lnTo>
                  <a:lnTo>
                    <a:pt x="4069997" y="711575"/>
                  </a:lnTo>
                  <a:lnTo>
                    <a:pt x="4038163" y="679741"/>
                  </a:lnTo>
                  <a:lnTo>
                    <a:pt x="4005733" y="648511"/>
                  </a:lnTo>
                  <a:lnTo>
                    <a:pt x="3972718" y="617895"/>
                  </a:lnTo>
                  <a:lnTo>
                    <a:pt x="3939126" y="587901"/>
                  </a:lnTo>
                  <a:lnTo>
                    <a:pt x="3904966" y="558539"/>
                  </a:lnTo>
                  <a:lnTo>
                    <a:pt x="3870248" y="529819"/>
                  </a:lnTo>
                  <a:lnTo>
                    <a:pt x="3834981" y="501749"/>
                  </a:lnTo>
                  <a:lnTo>
                    <a:pt x="3799174" y="474338"/>
                  </a:lnTo>
                  <a:lnTo>
                    <a:pt x="3762836" y="447596"/>
                  </a:lnTo>
                  <a:lnTo>
                    <a:pt x="3725977" y="421532"/>
                  </a:lnTo>
                  <a:lnTo>
                    <a:pt x="3688605" y="396155"/>
                  </a:lnTo>
                  <a:lnTo>
                    <a:pt x="3650731" y="371474"/>
                  </a:lnTo>
                  <a:lnTo>
                    <a:pt x="3612362" y="347499"/>
                  </a:lnTo>
                  <a:lnTo>
                    <a:pt x="3573509" y="324239"/>
                  </a:lnTo>
                  <a:lnTo>
                    <a:pt x="3534180" y="301703"/>
                  </a:lnTo>
                  <a:lnTo>
                    <a:pt x="3494385" y="279899"/>
                  </a:lnTo>
                  <a:lnTo>
                    <a:pt x="3454132" y="258839"/>
                  </a:lnTo>
                  <a:lnTo>
                    <a:pt x="3413432" y="238529"/>
                  </a:lnTo>
                  <a:lnTo>
                    <a:pt x="3372293" y="218981"/>
                  </a:lnTo>
                  <a:lnTo>
                    <a:pt x="3330724" y="200202"/>
                  </a:lnTo>
                  <a:lnTo>
                    <a:pt x="3288735" y="182202"/>
                  </a:lnTo>
                  <a:lnTo>
                    <a:pt x="3246335" y="164991"/>
                  </a:lnTo>
                  <a:lnTo>
                    <a:pt x="3203534" y="148577"/>
                  </a:lnTo>
                  <a:lnTo>
                    <a:pt x="3160339" y="132971"/>
                  </a:lnTo>
                  <a:lnTo>
                    <a:pt x="3116761" y="118180"/>
                  </a:lnTo>
                  <a:lnTo>
                    <a:pt x="3072808" y="104214"/>
                  </a:lnTo>
                  <a:lnTo>
                    <a:pt x="3028491" y="91082"/>
                  </a:lnTo>
                  <a:lnTo>
                    <a:pt x="2983817" y="78794"/>
                  </a:lnTo>
                  <a:lnTo>
                    <a:pt x="2938797" y="67359"/>
                  </a:lnTo>
                  <a:lnTo>
                    <a:pt x="2893439" y="56786"/>
                  </a:lnTo>
                  <a:lnTo>
                    <a:pt x="2847753" y="47084"/>
                  </a:lnTo>
                  <a:lnTo>
                    <a:pt x="2801748" y="38262"/>
                  </a:lnTo>
                  <a:lnTo>
                    <a:pt x="2755433" y="30330"/>
                  </a:lnTo>
                  <a:lnTo>
                    <a:pt x="2708817" y="23296"/>
                  </a:lnTo>
                  <a:lnTo>
                    <a:pt x="2661910" y="17171"/>
                  </a:lnTo>
                  <a:lnTo>
                    <a:pt x="2614720" y="11962"/>
                  </a:lnTo>
                  <a:lnTo>
                    <a:pt x="2567257" y="7680"/>
                  </a:lnTo>
                  <a:lnTo>
                    <a:pt x="2519531" y="4334"/>
                  </a:lnTo>
                  <a:lnTo>
                    <a:pt x="2471549" y="1932"/>
                  </a:lnTo>
                  <a:lnTo>
                    <a:pt x="2423322" y="484"/>
                  </a:lnTo>
                  <a:lnTo>
                    <a:pt x="2374859" y="0"/>
                  </a:lnTo>
                  <a:close/>
                </a:path>
              </a:pathLst>
            </a:custGeom>
            <a:solidFill>
              <a:srgbClr val="FFFFFF"/>
            </a:solidFill>
          </p:spPr>
          <p:txBody>
            <a:bodyPr wrap="square" lIns="0" tIns="0" rIns="0" bIns="0" rtlCol="0"/>
            <a:lstStyle/>
            <a:p>
              <a:endParaRPr/>
            </a:p>
          </p:txBody>
        </p:sp>
        <p:sp>
          <p:nvSpPr>
            <p:cNvPr id="41" name="object 5">
              <a:extLst>
                <a:ext uri="{FF2B5EF4-FFF2-40B4-BE49-F238E27FC236}">
                  <a16:creationId xmlns:a16="http://schemas.microsoft.com/office/drawing/2014/main" id="{CF5F75DF-7C1E-BBAF-EB4F-C343282F6343}"/>
                </a:ext>
              </a:extLst>
            </p:cNvPr>
            <p:cNvSpPr/>
            <p:nvPr/>
          </p:nvSpPr>
          <p:spPr>
            <a:xfrm>
              <a:off x="14540886" y="6222040"/>
              <a:ext cx="1826895" cy="1826895"/>
            </a:xfrm>
            <a:custGeom>
              <a:avLst/>
              <a:gdLst/>
              <a:ahLst/>
              <a:cxnLst/>
              <a:rect l="l" t="t" r="r" b="b"/>
              <a:pathLst>
                <a:path w="1826894" h="1826895">
                  <a:moveTo>
                    <a:pt x="1826823" y="0"/>
                  </a:moveTo>
                  <a:lnTo>
                    <a:pt x="0" y="0"/>
                  </a:lnTo>
                  <a:lnTo>
                    <a:pt x="0" y="1826823"/>
                  </a:lnTo>
                  <a:lnTo>
                    <a:pt x="1826823" y="1826823"/>
                  </a:lnTo>
                  <a:lnTo>
                    <a:pt x="1826823" y="0"/>
                  </a:lnTo>
                  <a:close/>
                </a:path>
              </a:pathLst>
            </a:custGeom>
            <a:solidFill>
              <a:srgbClr val="80BB80"/>
            </a:solidFill>
          </p:spPr>
          <p:txBody>
            <a:bodyPr wrap="square" lIns="0" tIns="0" rIns="0" bIns="0" rtlCol="0"/>
            <a:lstStyle/>
            <a:p>
              <a:endParaRPr/>
            </a:p>
          </p:txBody>
        </p:sp>
        <p:sp>
          <p:nvSpPr>
            <p:cNvPr id="42" name="object 7">
              <a:extLst>
                <a:ext uri="{FF2B5EF4-FFF2-40B4-BE49-F238E27FC236}">
                  <a16:creationId xmlns:a16="http://schemas.microsoft.com/office/drawing/2014/main" id="{166AE1C0-804A-EA3A-3948-0BA46DA7357F}"/>
                </a:ext>
              </a:extLst>
            </p:cNvPr>
            <p:cNvSpPr/>
            <p:nvPr/>
          </p:nvSpPr>
          <p:spPr>
            <a:xfrm>
              <a:off x="16367721" y="5418243"/>
              <a:ext cx="1461770" cy="2630805"/>
            </a:xfrm>
            <a:custGeom>
              <a:avLst/>
              <a:gdLst/>
              <a:ahLst/>
              <a:cxnLst/>
              <a:rect l="l" t="t" r="r" b="b"/>
              <a:pathLst>
                <a:path w="1461769" h="2630804">
                  <a:moveTo>
                    <a:pt x="1461463" y="0"/>
                  </a:moveTo>
                  <a:lnTo>
                    <a:pt x="0" y="0"/>
                  </a:lnTo>
                  <a:lnTo>
                    <a:pt x="0" y="2630621"/>
                  </a:lnTo>
                  <a:lnTo>
                    <a:pt x="1461463" y="2630621"/>
                  </a:lnTo>
                  <a:lnTo>
                    <a:pt x="1461463" y="0"/>
                  </a:lnTo>
                  <a:close/>
                </a:path>
              </a:pathLst>
            </a:custGeom>
            <a:solidFill>
              <a:srgbClr val="ECCC4A"/>
            </a:solidFill>
          </p:spPr>
          <p:txBody>
            <a:bodyPr wrap="square" lIns="0" tIns="0" rIns="0" bIns="0" rtlCol="0"/>
            <a:lstStyle/>
            <a:p>
              <a:endParaRPr/>
            </a:p>
          </p:txBody>
        </p:sp>
        <p:sp>
          <p:nvSpPr>
            <p:cNvPr id="43" name="object 8">
              <a:extLst>
                <a:ext uri="{FF2B5EF4-FFF2-40B4-BE49-F238E27FC236}">
                  <a16:creationId xmlns:a16="http://schemas.microsoft.com/office/drawing/2014/main" id="{B79983AD-A2CF-B2E3-88DF-6C4EC6841FAF}"/>
                </a:ext>
              </a:extLst>
            </p:cNvPr>
            <p:cNvSpPr/>
            <p:nvPr/>
          </p:nvSpPr>
          <p:spPr>
            <a:xfrm>
              <a:off x="16969346" y="6135426"/>
              <a:ext cx="258445" cy="1196340"/>
            </a:xfrm>
            <a:custGeom>
              <a:avLst/>
              <a:gdLst/>
              <a:ahLst/>
              <a:cxnLst/>
              <a:rect l="l" t="t" r="r" b="b"/>
              <a:pathLst>
                <a:path w="258444" h="1196340">
                  <a:moveTo>
                    <a:pt x="258191" y="1067168"/>
                  </a:moveTo>
                  <a:lnTo>
                    <a:pt x="248043" y="1016914"/>
                  </a:lnTo>
                  <a:lnTo>
                    <a:pt x="220370" y="975880"/>
                  </a:lnTo>
                  <a:lnTo>
                    <a:pt x="179336" y="948207"/>
                  </a:lnTo>
                  <a:lnTo>
                    <a:pt x="129095" y="938072"/>
                  </a:lnTo>
                  <a:lnTo>
                    <a:pt x="78841" y="948207"/>
                  </a:lnTo>
                  <a:lnTo>
                    <a:pt x="37807" y="975880"/>
                  </a:lnTo>
                  <a:lnTo>
                    <a:pt x="10147" y="1016914"/>
                  </a:lnTo>
                  <a:lnTo>
                    <a:pt x="0" y="1067168"/>
                  </a:lnTo>
                  <a:lnTo>
                    <a:pt x="10147" y="1117409"/>
                  </a:lnTo>
                  <a:lnTo>
                    <a:pt x="37807" y="1158443"/>
                  </a:lnTo>
                  <a:lnTo>
                    <a:pt x="78841" y="1186116"/>
                  </a:lnTo>
                  <a:lnTo>
                    <a:pt x="129095" y="1196263"/>
                  </a:lnTo>
                  <a:lnTo>
                    <a:pt x="179336" y="1186116"/>
                  </a:lnTo>
                  <a:lnTo>
                    <a:pt x="220370" y="1158443"/>
                  </a:lnTo>
                  <a:lnTo>
                    <a:pt x="248043" y="1117409"/>
                  </a:lnTo>
                  <a:lnTo>
                    <a:pt x="258191" y="1067168"/>
                  </a:lnTo>
                  <a:close/>
                </a:path>
                <a:path w="258444" h="1196340">
                  <a:moveTo>
                    <a:pt x="258191" y="598131"/>
                  </a:moveTo>
                  <a:lnTo>
                    <a:pt x="248043" y="547878"/>
                  </a:lnTo>
                  <a:lnTo>
                    <a:pt x="220370" y="506844"/>
                  </a:lnTo>
                  <a:lnTo>
                    <a:pt x="179336" y="479183"/>
                  </a:lnTo>
                  <a:lnTo>
                    <a:pt x="129095" y="469036"/>
                  </a:lnTo>
                  <a:lnTo>
                    <a:pt x="78841" y="479183"/>
                  </a:lnTo>
                  <a:lnTo>
                    <a:pt x="37807" y="506844"/>
                  </a:lnTo>
                  <a:lnTo>
                    <a:pt x="10147" y="547878"/>
                  </a:lnTo>
                  <a:lnTo>
                    <a:pt x="0" y="598131"/>
                  </a:lnTo>
                  <a:lnTo>
                    <a:pt x="10147" y="648373"/>
                  </a:lnTo>
                  <a:lnTo>
                    <a:pt x="37807" y="689406"/>
                  </a:lnTo>
                  <a:lnTo>
                    <a:pt x="78841" y="717067"/>
                  </a:lnTo>
                  <a:lnTo>
                    <a:pt x="129095" y="727214"/>
                  </a:lnTo>
                  <a:lnTo>
                    <a:pt x="179336" y="717067"/>
                  </a:lnTo>
                  <a:lnTo>
                    <a:pt x="220370" y="689406"/>
                  </a:lnTo>
                  <a:lnTo>
                    <a:pt x="248043" y="648373"/>
                  </a:lnTo>
                  <a:lnTo>
                    <a:pt x="258191" y="598131"/>
                  </a:lnTo>
                  <a:close/>
                </a:path>
                <a:path w="258444" h="1196340">
                  <a:moveTo>
                    <a:pt x="258191" y="129095"/>
                  </a:moveTo>
                  <a:lnTo>
                    <a:pt x="248043" y="78841"/>
                  </a:lnTo>
                  <a:lnTo>
                    <a:pt x="220370" y="37807"/>
                  </a:lnTo>
                  <a:lnTo>
                    <a:pt x="179336" y="10147"/>
                  </a:lnTo>
                  <a:lnTo>
                    <a:pt x="129095" y="0"/>
                  </a:lnTo>
                  <a:lnTo>
                    <a:pt x="78841" y="10147"/>
                  </a:lnTo>
                  <a:lnTo>
                    <a:pt x="37807" y="37807"/>
                  </a:lnTo>
                  <a:lnTo>
                    <a:pt x="10147" y="78841"/>
                  </a:lnTo>
                  <a:lnTo>
                    <a:pt x="0" y="129095"/>
                  </a:lnTo>
                  <a:lnTo>
                    <a:pt x="10147" y="179349"/>
                  </a:lnTo>
                  <a:lnTo>
                    <a:pt x="37807" y="220383"/>
                  </a:lnTo>
                  <a:lnTo>
                    <a:pt x="78841" y="248043"/>
                  </a:lnTo>
                  <a:lnTo>
                    <a:pt x="129095" y="258178"/>
                  </a:lnTo>
                  <a:lnTo>
                    <a:pt x="179336" y="248043"/>
                  </a:lnTo>
                  <a:lnTo>
                    <a:pt x="220370" y="220383"/>
                  </a:lnTo>
                  <a:lnTo>
                    <a:pt x="248043" y="179349"/>
                  </a:lnTo>
                  <a:lnTo>
                    <a:pt x="258191" y="129095"/>
                  </a:lnTo>
                  <a:close/>
                </a:path>
              </a:pathLst>
            </a:custGeom>
            <a:solidFill>
              <a:srgbClr val="FFFFFF"/>
            </a:solidFill>
          </p:spPr>
          <p:txBody>
            <a:bodyPr wrap="square" lIns="0" tIns="0" rIns="0" bIns="0" rtlCol="0"/>
            <a:lstStyle/>
            <a:p>
              <a:endParaRPr/>
            </a:p>
          </p:txBody>
        </p:sp>
        <p:sp>
          <p:nvSpPr>
            <p:cNvPr id="44" name="object 9">
              <a:extLst>
                <a:ext uri="{FF2B5EF4-FFF2-40B4-BE49-F238E27FC236}">
                  <a16:creationId xmlns:a16="http://schemas.microsoft.com/office/drawing/2014/main" id="{A2F6C423-1D6D-509F-6E31-18A2EF198D31}"/>
                </a:ext>
              </a:extLst>
            </p:cNvPr>
            <p:cNvSpPr/>
            <p:nvPr/>
          </p:nvSpPr>
          <p:spPr>
            <a:xfrm>
              <a:off x="14540889" y="4212533"/>
              <a:ext cx="1826895" cy="2009775"/>
            </a:xfrm>
            <a:custGeom>
              <a:avLst/>
              <a:gdLst/>
              <a:ahLst/>
              <a:cxnLst/>
              <a:rect l="l" t="t" r="r" b="b"/>
              <a:pathLst>
                <a:path w="1826894" h="2009775">
                  <a:moveTo>
                    <a:pt x="913417" y="0"/>
                  </a:moveTo>
                  <a:lnTo>
                    <a:pt x="864906" y="1266"/>
                  </a:lnTo>
                  <a:lnTo>
                    <a:pt x="817055" y="5022"/>
                  </a:lnTo>
                  <a:lnTo>
                    <a:pt x="769926" y="11205"/>
                  </a:lnTo>
                  <a:lnTo>
                    <a:pt x="723584" y="19752"/>
                  </a:lnTo>
                  <a:lnTo>
                    <a:pt x="678090" y="30600"/>
                  </a:lnTo>
                  <a:lnTo>
                    <a:pt x="633508" y="43686"/>
                  </a:lnTo>
                  <a:lnTo>
                    <a:pt x="589901" y="58946"/>
                  </a:lnTo>
                  <a:lnTo>
                    <a:pt x="547332" y="76318"/>
                  </a:lnTo>
                  <a:lnTo>
                    <a:pt x="505865" y="95737"/>
                  </a:lnTo>
                  <a:lnTo>
                    <a:pt x="465562" y="117142"/>
                  </a:lnTo>
                  <a:lnTo>
                    <a:pt x="426487" y="140469"/>
                  </a:lnTo>
                  <a:lnTo>
                    <a:pt x="388703" y="165655"/>
                  </a:lnTo>
                  <a:lnTo>
                    <a:pt x="352272" y="192636"/>
                  </a:lnTo>
                  <a:lnTo>
                    <a:pt x="317259" y="221350"/>
                  </a:lnTo>
                  <a:lnTo>
                    <a:pt x="283725" y="251734"/>
                  </a:lnTo>
                  <a:lnTo>
                    <a:pt x="251735" y="283724"/>
                  </a:lnTo>
                  <a:lnTo>
                    <a:pt x="221351" y="317257"/>
                  </a:lnTo>
                  <a:lnTo>
                    <a:pt x="192637" y="352270"/>
                  </a:lnTo>
                  <a:lnTo>
                    <a:pt x="165655" y="388700"/>
                  </a:lnTo>
                  <a:lnTo>
                    <a:pt x="140470" y="426484"/>
                  </a:lnTo>
                  <a:lnTo>
                    <a:pt x="117143" y="465559"/>
                  </a:lnTo>
                  <a:lnTo>
                    <a:pt x="95738" y="505861"/>
                  </a:lnTo>
                  <a:lnTo>
                    <a:pt x="76318" y="547328"/>
                  </a:lnTo>
                  <a:lnTo>
                    <a:pt x="58946" y="589896"/>
                  </a:lnTo>
                  <a:lnTo>
                    <a:pt x="43686" y="633502"/>
                  </a:lnTo>
                  <a:lnTo>
                    <a:pt x="30600" y="678083"/>
                  </a:lnTo>
                  <a:lnTo>
                    <a:pt x="19752" y="723577"/>
                  </a:lnTo>
                  <a:lnTo>
                    <a:pt x="11205" y="769919"/>
                  </a:lnTo>
                  <a:lnTo>
                    <a:pt x="5022" y="817046"/>
                  </a:lnTo>
                  <a:lnTo>
                    <a:pt x="1266" y="864897"/>
                  </a:lnTo>
                  <a:lnTo>
                    <a:pt x="0" y="913406"/>
                  </a:lnTo>
                  <a:lnTo>
                    <a:pt x="0" y="2009509"/>
                  </a:lnTo>
                  <a:lnTo>
                    <a:pt x="1826823" y="2009509"/>
                  </a:lnTo>
                  <a:lnTo>
                    <a:pt x="1826823" y="913406"/>
                  </a:lnTo>
                  <a:lnTo>
                    <a:pt x="1825557" y="864897"/>
                  </a:lnTo>
                  <a:lnTo>
                    <a:pt x="1821801" y="817046"/>
                  </a:lnTo>
                  <a:lnTo>
                    <a:pt x="1815618" y="769919"/>
                  </a:lnTo>
                  <a:lnTo>
                    <a:pt x="1807071" y="723577"/>
                  </a:lnTo>
                  <a:lnTo>
                    <a:pt x="1796223" y="678083"/>
                  </a:lnTo>
                  <a:lnTo>
                    <a:pt x="1783137" y="633502"/>
                  </a:lnTo>
                  <a:lnTo>
                    <a:pt x="1767877" y="589896"/>
                  </a:lnTo>
                  <a:lnTo>
                    <a:pt x="1750505" y="547328"/>
                  </a:lnTo>
                  <a:lnTo>
                    <a:pt x="1731086" y="505861"/>
                  </a:lnTo>
                  <a:lnTo>
                    <a:pt x="1709681" y="465559"/>
                  </a:lnTo>
                  <a:lnTo>
                    <a:pt x="1686354" y="426484"/>
                  </a:lnTo>
                  <a:lnTo>
                    <a:pt x="1661168" y="388700"/>
                  </a:lnTo>
                  <a:lnTo>
                    <a:pt x="1634187" y="352270"/>
                  </a:lnTo>
                  <a:lnTo>
                    <a:pt x="1605473" y="317257"/>
                  </a:lnTo>
                  <a:lnTo>
                    <a:pt x="1575089" y="283724"/>
                  </a:lnTo>
                  <a:lnTo>
                    <a:pt x="1543099" y="251734"/>
                  </a:lnTo>
                  <a:lnTo>
                    <a:pt x="1509566" y="221350"/>
                  </a:lnTo>
                  <a:lnTo>
                    <a:pt x="1474553" y="192636"/>
                  </a:lnTo>
                  <a:lnTo>
                    <a:pt x="1438123" y="165655"/>
                  </a:lnTo>
                  <a:lnTo>
                    <a:pt x="1400339" y="140469"/>
                  </a:lnTo>
                  <a:lnTo>
                    <a:pt x="1361264" y="117142"/>
                  </a:lnTo>
                  <a:lnTo>
                    <a:pt x="1320962" y="95737"/>
                  </a:lnTo>
                  <a:lnTo>
                    <a:pt x="1279495" y="76318"/>
                  </a:lnTo>
                  <a:lnTo>
                    <a:pt x="1236927" y="58946"/>
                  </a:lnTo>
                  <a:lnTo>
                    <a:pt x="1193321" y="43686"/>
                  </a:lnTo>
                  <a:lnTo>
                    <a:pt x="1148740" y="30600"/>
                  </a:lnTo>
                  <a:lnTo>
                    <a:pt x="1103246" y="19752"/>
                  </a:lnTo>
                  <a:lnTo>
                    <a:pt x="1056904" y="11205"/>
                  </a:lnTo>
                  <a:lnTo>
                    <a:pt x="1009777" y="5022"/>
                  </a:lnTo>
                  <a:lnTo>
                    <a:pt x="961926" y="1266"/>
                  </a:lnTo>
                  <a:lnTo>
                    <a:pt x="913417" y="0"/>
                  </a:lnTo>
                  <a:close/>
                </a:path>
              </a:pathLst>
            </a:custGeom>
            <a:solidFill>
              <a:srgbClr val="DD5A2D"/>
            </a:solidFill>
          </p:spPr>
          <p:txBody>
            <a:bodyPr wrap="square" lIns="0" tIns="0" rIns="0" bIns="0" rtlCol="0"/>
            <a:lstStyle/>
            <a:p>
              <a:endParaRPr/>
            </a:p>
          </p:txBody>
        </p:sp>
        <p:sp>
          <p:nvSpPr>
            <p:cNvPr id="45" name="object 10">
              <a:extLst>
                <a:ext uri="{FF2B5EF4-FFF2-40B4-BE49-F238E27FC236}">
                  <a16:creationId xmlns:a16="http://schemas.microsoft.com/office/drawing/2014/main" id="{BB88701D-B18A-CB4F-5B81-4DFCE018D80F}"/>
                </a:ext>
              </a:extLst>
            </p:cNvPr>
            <p:cNvSpPr/>
            <p:nvPr/>
          </p:nvSpPr>
          <p:spPr>
            <a:xfrm>
              <a:off x="14961824" y="4839168"/>
              <a:ext cx="986155" cy="833755"/>
            </a:xfrm>
            <a:custGeom>
              <a:avLst/>
              <a:gdLst/>
              <a:ahLst/>
              <a:cxnLst/>
              <a:rect l="l" t="t" r="r" b="b"/>
              <a:pathLst>
                <a:path w="986155" h="833754">
                  <a:moveTo>
                    <a:pt x="730397" y="0"/>
                  </a:moveTo>
                  <a:lnTo>
                    <a:pt x="680601" y="5544"/>
                  </a:lnTo>
                  <a:lnTo>
                    <a:pt x="636668" y="19628"/>
                  </a:lnTo>
                  <a:lnTo>
                    <a:pt x="601185" y="40755"/>
                  </a:lnTo>
                  <a:lnTo>
                    <a:pt x="571335" y="68208"/>
                  </a:lnTo>
                  <a:lnTo>
                    <a:pt x="544300" y="101271"/>
                  </a:lnTo>
                  <a:lnTo>
                    <a:pt x="487403" y="181361"/>
                  </a:lnTo>
                  <a:lnTo>
                    <a:pt x="447052" y="154201"/>
                  </a:lnTo>
                  <a:lnTo>
                    <a:pt x="403333" y="131614"/>
                  </a:lnTo>
                  <a:lnTo>
                    <a:pt x="357055" y="114143"/>
                  </a:lnTo>
                  <a:lnTo>
                    <a:pt x="309025" y="102332"/>
                  </a:lnTo>
                  <a:lnTo>
                    <a:pt x="260049" y="96724"/>
                  </a:lnTo>
                  <a:lnTo>
                    <a:pt x="210656" y="98729"/>
                  </a:lnTo>
                  <a:lnTo>
                    <a:pt x="162245" y="109287"/>
                  </a:lnTo>
                  <a:lnTo>
                    <a:pt x="116929" y="128222"/>
                  </a:lnTo>
                  <a:lnTo>
                    <a:pt x="76821" y="155356"/>
                  </a:lnTo>
                  <a:lnTo>
                    <a:pt x="44034" y="190512"/>
                  </a:lnTo>
                  <a:lnTo>
                    <a:pt x="21945" y="230130"/>
                  </a:lnTo>
                  <a:lnTo>
                    <a:pt x="7218" y="275965"/>
                  </a:lnTo>
                  <a:lnTo>
                    <a:pt x="0" y="324641"/>
                  </a:lnTo>
                  <a:lnTo>
                    <a:pt x="436" y="372781"/>
                  </a:lnTo>
                  <a:lnTo>
                    <a:pt x="8674" y="417008"/>
                  </a:lnTo>
                  <a:lnTo>
                    <a:pt x="28086" y="466796"/>
                  </a:lnTo>
                  <a:lnTo>
                    <a:pt x="54792" y="513361"/>
                  </a:lnTo>
                  <a:lnTo>
                    <a:pt x="87158" y="556792"/>
                  </a:lnTo>
                  <a:lnTo>
                    <a:pt x="123550" y="597180"/>
                  </a:lnTo>
                  <a:lnTo>
                    <a:pt x="162394" y="633881"/>
                  </a:lnTo>
                  <a:lnTo>
                    <a:pt x="204473" y="667836"/>
                  </a:lnTo>
                  <a:lnTo>
                    <a:pt x="249216" y="698943"/>
                  </a:lnTo>
                  <a:lnTo>
                    <a:pt x="296050" y="727098"/>
                  </a:lnTo>
                  <a:lnTo>
                    <a:pt x="344403" y="752197"/>
                  </a:lnTo>
                  <a:lnTo>
                    <a:pt x="393703" y="774137"/>
                  </a:lnTo>
                  <a:lnTo>
                    <a:pt x="443378" y="792814"/>
                  </a:lnTo>
                  <a:lnTo>
                    <a:pt x="492856" y="808125"/>
                  </a:lnTo>
                  <a:lnTo>
                    <a:pt x="541565" y="819966"/>
                  </a:lnTo>
                  <a:lnTo>
                    <a:pt x="588932" y="828234"/>
                  </a:lnTo>
                  <a:lnTo>
                    <a:pt x="634387" y="832824"/>
                  </a:lnTo>
                  <a:lnTo>
                    <a:pt x="677355" y="833634"/>
                  </a:lnTo>
                  <a:lnTo>
                    <a:pt x="716840" y="798110"/>
                  </a:lnTo>
                  <a:lnTo>
                    <a:pt x="752682" y="762783"/>
                  </a:lnTo>
                  <a:lnTo>
                    <a:pt x="785193" y="727295"/>
                  </a:lnTo>
                  <a:lnTo>
                    <a:pt x="814687" y="691288"/>
                  </a:lnTo>
                  <a:lnTo>
                    <a:pt x="841476" y="654406"/>
                  </a:lnTo>
                  <a:lnTo>
                    <a:pt x="865874" y="616291"/>
                  </a:lnTo>
                  <a:lnTo>
                    <a:pt x="888194" y="576585"/>
                  </a:lnTo>
                  <a:lnTo>
                    <a:pt x="908750" y="534931"/>
                  </a:lnTo>
                  <a:lnTo>
                    <a:pt x="927853" y="490971"/>
                  </a:lnTo>
                  <a:lnTo>
                    <a:pt x="945818" y="444347"/>
                  </a:lnTo>
                  <a:lnTo>
                    <a:pt x="962060" y="395319"/>
                  </a:lnTo>
                  <a:lnTo>
                    <a:pt x="974988" y="344809"/>
                  </a:lnTo>
                  <a:lnTo>
                    <a:pt x="983287" y="293747"/>
                  </a:lnTo>
                  <a:lnTo>
                    <a:pt x="985645" y="243065"/>
                  </a:lnTo>
                  <a:lnTo>
                    <a:pt x="980746" y="193696"/>
                  </a:lnTo>
                  <a:lnTo>
                    <a:pt x="967277" y="146570"/>
                  </a:lnTo>
                  <a:lnTo>
                    <a:pt x="943923" y="102620"/>
                  </a:lnTo>
                  <a:lnTo>
                    <a:pt x="912211" y="66150"/>
                  </a:lnTo>
                  <a:lnTo>
                    <a:pt x="873123" y="37223"/>
                  </a:lnTo>
                  <a:lnTo>
                    <a:pt x="828538" y="16269"/>
                  </a:lnTo>
                  <a:lnTo>
                    <a:pt x="780336" y="3718"/>
                  </a:lnTo>
                  <a:lnTo>
                    <a:pt x="730397" y="0"/>
                  </a:lnTo>
                  <a:close/>
                </a:path>
              </a:pathLst>
            </a:custGeom>
            <a:solidFill>
              <a:srgbClr val="FFFFFF"/>
            </a:solidFill>
          </p:spPr>
          <p:txBody>
            <a:bodyPr wrap="square" lIns="0" tIns="0" rIns="0" bIns="0" rtlCol="0"/>
            <a:lstStyle/>
            <a:p>
              <a:endParaRPr/>
            </a:p>
          </p:txBody>
        </p:sp>
        <p:sp>
          <p:nvSpPr>
            <p:cNvPr id="46" name="object 11">
              <a:extLst>
                <a:ext uri="{FF2B5EF4-FFF2-40B4-BE49-F238E27FC236}">
                  <a16:creationId xmlns:a16="http://schemas.microsoft.com/office/drawing/2014/main" id="{8D936F4B-DAC1-AC12-5D29-29E295D1A5FD}"/>
                </a:ext>
              </a:extLst>
            </p:cNvPr>
            <p:cNvSpPr/>
            <p:nvPr/>
          </p:nvSpPr>
          <p:spPr>
            <a:xfrm>
              <a:off x="16046664" y="6036614"/>
              <a:ext cx="321310" cy="371475"/>
            </a:xfrm>
            <a:custGeom>
              <a:avLst/>
              <a:gdLst/>
              <a:ahLst/>
              <a:cxnLst/>
              <a:rect l="l" t="t" r="r" b="b"/>
              <a:pathLst>
                <a:path w="321309" h="371475">
                  <a:moveTo>
                    <a:pt x="321162" y="0"/>
                  </a:moveTo>
                  <a:lnTo>
                    <a:pt x="0" y="185428"/>
                  </a:lnTo>
                  <a:lnTo>
                    <a:pt x="321162" y="370847"/>
                  </a:lnTo>
                  <a:lnTo>
                    <a:pt x="321162" y="0"/>
                  </a:lnTo>
                  <a:close/>
                </a:path>
              </a:pathLst>
            </a:custGeom>
            <a:solidFill>
              <a:srgbClr val="ECCC4A"/>
            </a:solidFill>
          </p:spPr>
          <p:txBody>
            <a:bodyPr wrap="square" lIns="0" tIns="0" rIns="0" bIns="0" rtlCol="0"/>
            <a:lstStyle/>
            <a:p>
              <a:pPr algn="l" rtl="0"/>
              <a:endParaRPr/>
            </a:p>
          </p:txBody>
        </p:sp>
      </p:grpSp>
      <p:sp>
        <p:nvSpPr>
          <p:cNvPr id="8" name="object 13">
            <a:extLst>
              <a:ext uri="{FF2B5EF4-FFF2-40B4-BE49-F238E27FC236}">
                <a16:creationId xmlns:a16="http://schemas.microsoft.com/office/drawing/2014/main" id="{6C622455-5EFB-B2CD-953E-C7EB4BFCF0D0}"/>
              </a:ext>
            </a:extLst>
          </p:cNvPr>
          <p:cNvSpPr txBox="1">
            <a:spLocks noGrp="1"/>
          </p:cNvSpPr>
          <p:nvPr>
            <p:ph type="title"/>
          </p:nvPr>
        </p:nvSpPr>
        <p:spPr>
          <a:xfrm>
            <a:off x="868632" y="4926076"/>
            <a:ext cx="5297217" cy="992579"/>
          </a:xfrm>
          <a:prstGeom prst="rect">
            <a:avLst/>
          </a:prstGeom>
        </p:spPr>
        <p:txBody>
          <a:bodyPr vert="horz" wrap="square" lIns="0" tIns="15240" rIns="0" bIns="0" rtlCol="0">
            <a:spAutoFit/>
          </a:bodyPr>
          <a:lstStyle>
            <a:lvl1pPr>
              <a:defRPr b="1" i="0">
                <a:solidFill>
                  <a:srgbClr val="002060"/>
                </a:solidFill>
                <a:latin typeface="Tahoma" panose="020B0604030504040204" pitchFamily="34" charset="0"/>
                <a:ea typeface="Tahoma" panose="020B0604030504040204" pitchFamily="34" charset="0"/>
                <a:cs typeface="Tahoma" panose="020B0604030504040204" pitchFamily="34" charset="0"/>
              </a:defRPr>
            </a:lvl1pPr>
          </a:lstStyle>
          <a:p>
            <a:pPr marL="12700">
              <a:lnSpc>
                <a:spcPct val="100000"/>
              </a:lnSpc>
              <a:spcBef>
                <a:spcPts val="120"/>
              </a:spcBef>
            </a:pPr>
            <a:r>
              <a:rPr sz="6350" spc="-110">
                <a:solidFill>
                  <a:srgbClr val="231E1F"/>
                </a:solidFill>
              </a:rPr>
              <a:t>Thank</a:t>
            </a:r>
            <a:r>
              <a:rPr sz="6350" spc="-445">
                <a:solidFill>
                  <a:srgbClr val="231E1F"/>
                </a:solidFill>
              </a:rPr>
              <a:t> </a:t>
            </a:r>
            <a:r>
              <a:rPr sz="6350" spc="-105">
                <a:solidFill>
                  <a:srgbClr val="231E1F"/>
                </a:solidFill>
              </a:rPr>
              <a:t>you</a:t>
            </a:r>
            <a:endParaRPr sz="6350"/>
          </a:p>
        </p:txBody>
      </p:sp>
      <p:grpSp>
        <p:nvGrpSpPr>
          <p:cNvPr id="9" name="object 14">
            <a:extLst>
              <a:ext uri="{FF2B5EF4-FFF2-40B4-BE49-F238E27FC236}">
                <a16:creationId xmlns:a16="http://schemas.microsoft.com/office/drawing/2014/main" id="{0E8891E3-804F-08BC-242E-528C96E7B341}"/>
              </a:ext>
            </a:extLst>
          </p:cNvPr>
          <p:cNvGrpSpPr/>
          <p:nvPr userDrawn="1"/>
        </p:nvGrpSpPr>
        <p:grpSpPr>
          <a:xfrm>
            <a:off x="3156888" y="8410803"/>
            <a:ext cx="1719580" cy="1165225"/>
            <a:chOff x="3156888" y="8410803"/>
            <a:chExt cx="1719580" cy="1165225"/>
          </a:xfrm>
        </p:grpSpPr>
        <p:sp>
          <p:nvSpPr>
            <p:cNvPr id="10" name="object 15">
              <a:extLst>
                <a:ext uri="{FF2B5EF4-FFF2-40B4-BE49-F238E27FC236}">
                  <a16:creationId xmlns:a16="http://schemas.microsoft.com/office/drawing/2014/main" id="{C8895E45-BD12-5757-B9CE-00EE8240C793}"/>
                </a:ext>
              </a:extLst>
            </p:cNvPr>
            <p:cNvSpPr/>
            <p:nvPr/>
          </p:nvSpPr>
          <p:spPr>
            <a:xfrm>
              <a:off x="3156888" y="8620606"/>
              <a:ext cx="1719580" cy="955675"/>
            </a:xfrm>
            <a:custGeom>
              <a:avLst/>
              <a:gdLst/>
              <a:ahLst/>
              <a:cxnLst/>
              <a:rect l="l" t="t" r="r" b="b"/>
              <a:pathLst>
                <a:path w="1719579" h="955675">
                  <a:moveTo>
                    <a:pt x="1719120" y="0"/>
                  </a:moveTo>
                  <a:lnTo>
                    <a:pt x="0" y="0"/>
                  </a:lnTo>
                  <a:lnTo>
                    <a:pt x="0" y="955070"/>
                  </a:lnTo>
                  <a:lnTo>
                    <a:pt x="1719120" y="955070"/>
                  </a:lnTo>
                  <a:lnTo>
                    <a:pt x="1719120" y="0"/>
                  </a:lnTo>
                  <a:close/>
                </a:path>
              </a:pathLst>
            </a:custGeom>
            <a:solidFill>
              <a:srgbClr val="ECCC4A"/>
            </a:solidFill>
          </p:spPr>
          <p:txBody>
            <a:bodyPr wrap="square" lIns="0" tIns="0" rIns="0" bIns="0" rtlCol="0"/>
            <a:lstStyle/>
            <a:p>
              <a:endParaRPr/>
            </a:p>
          </p:txBody>
        </p:sp>
        <p:pic>
          <p:nvPicPr>
            <p:cNvPr id="11" name="object 16">
              <a:extLst>
                <a:ext uri="{FF2B5EF4-FFF2-40B4-BE49-F238E27FC236}">
                  <a16:creationId xmlns:a16="http://schemas.microsoft.com/office/drawing/2014/main" id="{1CFADE63-D612-D002-1A59-6C9725BE41EE}"/>
                </a:ext>
              </a:extLst>
            </p:cNvPr>
            <p:cNvPicPr/>
            <p:nvPr/>
          </p:nvPicPr>
          <p:blipFill>
            <a:blip r:embed="rId2" cstate="print"/>
            <a:stretch>
              <a:fillRect/>
            </a:stretch>
          </p:blipFill>
          <p:spPr>
            <a:xfrm>
              <a:off x="4238592" y="9013782"/>
              <a:ext cx="168727" cy="168727"/>
            </a:xfrm>
            <a:prstGeom prst="rect">
              <a:avLst/>
            </a:prstGeom>
          </p:spPr>
        </p:pic>
        <p:pic>
          <p:nvPicPr>
            <p:cNvPr id="12" name="object 17">
              <a:extLst>
                <a:ext uri="{FF2B5EF4-FFF2-40B4-BE49-F238E27FC236}">
                  <a16:creationId xmlns:a16="http://schemas.microsoft.com/office/drawing/2014/main" id="{839DB6EF-C382-3F68-CAC0-2824540D040F}"/>
                </a:ext>
              </a:extLst>
            </p:cNvPr>
            <p:cNvPicPr/>
            <p:nvPr/>
          </p:nvPicPr>
          <p:blipFill>
            <a:blip r:embed="rId2" cstate="print"/>
            <a:stretch>
              <a:fillRect/>
            </a:stretch>
          </p:blipFill>
          <p:spPr>
            <a:xfrm>
              <a:off x="3932073" y="9013782"/>
              <a:ext cx="168738" cy="168727"/>
            </a:xfrm>
            <a:prstGeom prst="rect">
              <a:avLst/>
            </a:prstGeom>
          </p:spPr>
        </p:pic>
        <p:pic>
          <p:nvPicPr>
            <p:cNvPr id="13" name="object 18">
              <a:extLst>
                <a:ext uri="{FF2B5EF4-FFF2-40B4-BE49-F238E27FC236}">
                  <a16:creationId xmlns:a16="http://schemas.microsoft.com/office/drawing/2014/main" id="{87BEFD7D-3F8B-DE93-5DFC-C2A414458ED0}"/>
                </a:ext>
              </a:extLst>
            </p:cNvPr>
            <p:cNvPicPr/>
            <p:nvPr/>
          </p:nvPicPr>
          <p:blipFill>
            <a:blip r:embed="rId3" cstate="print"/>
            <a:stretch>
              <a:fillRect/>
            </a:stretch>
          </p:blipFill>
          <p:spPr>
            <a:xfrm>
              <a:off x="3625564" y="9013782"/>
              <a:ext cx="168727" cy="168727"/>
            </a:xfrm>
            <a:prstGeom prst="rect">
              <a:avLst/>
            </a:prstGeom>
          </p:spPr>
        </p:pic>
        <p:sp>
          <p:nvSpPr>
            <p:cNvPr id="14" name="object 19">
              <a:extLst>
                <a:ext uri="{FF2B5EF4-FFF2-40B4-BE49-F238E27FC236}">
                  <a16:creationId xmlns:a16="http://schemas.microsoft.com/office/drawing/2014/main" id="{FE3393FC-CFFC-11E2-36FE-A13381C6D7C3}"/>
                </a:ext>
              </a:extLst>
            </p:cNvPr>
            <p:cNvSpPr/>
            <p:nvPr/>
          </p:nvSpPr>
          <p:spPr>
            <a:xfrm>
              <a:off x="4229549" y="8410803"/>
              <a:ext cx="242570" cy="210185"/>
            </a:xfrm>
            <a:custGeom>
              <a:avLst/>
              <a:gdLst/>
              <a:ahLst/>
              <a:cxnLst/>
              <a:rect l="l" t="t" r="r" b="b"/>
              <a:pathLst>
                <a:path w="242570" h="210184">
                  <a:moveTo>
                    <a:pt x="121169" y="0"/>
                  </a:moveTo>
                  <a:lnTo>
                    <a:pt x="0" y="209878"/>
                  </a:lnTo>
                  <a:lnTo>
                    <a:pt x="242338" y="209878"/>
                  </a:lnTo>
                  <a:lnTo>
                    <a:pt x="121169" y="0"/>
                  </a:lnTo>
                  <a:close/>
                </a:path>
              </a:pathLst>
            </a:custGeom>
            <a:solidFill>
              <a:srgbClr val="ECCC4A"/>
            </a:solidFill>
          </p:spPr>
          <p:txBody>
            <a:bodyPr wrap="square" lIns="0" tIns="0" rIns="0" bIns="0" rtlCol="0"/>
            <a:lstStyle/>
            <a:p>
              <a:endParaRPr/>
            </a:p>
          </p:txBody>
        </p:sp>
      </p:grpSp>
      <p:grpSp>
        <p:nvGrpSpPr>
          <p:cNvPr id="17" name="object 22">
            <a:extLst>
              <a:ext uri="{FF2B5EF4-FFF2-40B4-BE49-F238E27FC236}">
                <a16:creationId xmlns:a16="http://schemas.microsoft.com/office/drawing/2014/main" id="{28F9D0AA-DE45-0F95-84CE-296DE567020B}"/>
              </a:ext>
            </a:extLst>
          </p:cNvPr>
          <p:cNvGrpSpPr/>
          <p:nvPr userDrawn="1"/>
        </p:nvGrpSpPr>
        <p:grpSpPr>
          <a:xfrm>
            <a:off x="854755" y="1007583"/>
            <a:ext cx="1256030" cy="1343660"/>
            <a:chOff x="854755" y="1007583"/>
            <a:chExt cx="1256030" cy="1343660"/>
          </a:xfrm>
        </p:grpSpPr>
        <p:sp>
          <p:nvSpPr>
            <p:cNvPr id="18" name="object 23">
              <a:extLst>
                <a:ext uri="{FF2B5EF4-FFF2-40B4-BE49-F238E27FC236}">
                  <a16:creationId xmlns:a16="http://schemas.microsoft.com/office/drawing/2014/main" id="{269AA833-1FF2-58B6-001D-2F719A47B28B}"/>
                </a:ext>
              </a:extLst>
            </p:cNvPr>
            <p:cNvSpPr/>
            <p:nvPr/>
          </p:nvSpPr>
          <p:spPr>
            <a:xfrm>
              <a:off x="854755" y="1007583"/>
              <a:ext cx="1256030" cy="1343660"/>
            </a:xfrm>
            <a:custGeom>
              <a:avLst/>
              <a:gdLst/>
              <a:ahLst/>
              <a:cxnLst/>
              <a:rect l="l" t="t" r="r" b="b"/>
              <a:pathLst>
                <a:path w="1256030" h="1343660">
                  <a:moveTo>
                    <a:pt x="627991" y="0"/>
                  </a:moveTo>
                  <a:lnTo>
                    <a:pt x="578914" y="1889"/>
                  </a:lnTo>
                  <a:lnTo>
                    <a:pt x="530870" y="7464"/>
                  </a:lnTo>
                  <a:lnTo>
                    <a:pt x="483999" y="16585"/>
                  </a:lnTo>
                  <a:lnTo>
                    <a:pt x="438440" y="29112"/>
                  </a:lnTo>
                  <a:lnTo>
                    <a:pt x="394333" y="44906"/>
                  </a:lnTo>
                  <a:lnTo>
                    <a:pt x="351817" y="63828"/>
                  </a:lnTo>
                  <a:lnTo>
                    <a:pt x="311033" y="85737"/>
                  </a:lnTo>
                  <a:lnTo>
                    <a:pt x="272119" y="110494"/>
                  </a:lnTo>
                  <a:lnTo>
                    <a:pt x="235216" y="137960"/>
                  </a:lnTo>
                  <a:lnTo>
                    <a:pt x="200462" y="167994"/>
                  </a:lnTo>
                  <a:lnTo>
                    <a:pt x="167998" y="200458"/>
                  </a:lnTo>
                  <a:lnTo>
                    <a:pt x="137963" y="235211"/>
                  </a:lnTo>
                  <a:lnTo>
                    <a:pt x="110497" y="272114"/>
                  </a:lnTo>
                  <a:lnTo>
                    <a:pt x="85739" y="311028"/>
                  </a:lnTo>
                  <a:lnTo>
                    <a:pt x="63830" y="351813"/>
                  </a:lnTo>
                  <a:lnTo>
                    <a:pt x="44908" y="394329"/>
                  </a:lnTo>
                  <a:lnTo>
                    <a:pt x="29113" y="438436"/>
                  </a:lnTo>
                  <a:lnTo>
                    <a:pt x="16585" y="483996"/>
                  </a:lnTo>
                  <a:lnTo>
                    <a:pt x="7464" y="530868"/>
                  </a:lnTo>
                  <a:lnTo>
                    <a:pt x="1889" y="578913"/>
                  </a:lnTo>
                  <a:lnTo>
                    <a:pt x="0" y="627991"/>
                  </a:lnTo>
                  <a:lnTo>
                    <a:pt x="0" y="1343299"/>
                  </a:lnTo>
                  <a:lnTo>
                    <a:pt x="386668" y="1343299"/>
                  </a:lnTo>
                  <a:lnTo>
                    <a:pt x="386689" y="571322"/>
                  </a:lnTo>
                  <a:lnTo>
                    <a:pt x="391636" y="522254"/>
                  </a:lnTo>
                  <a:lnTo>
                    <a:pt x="405822" y="476552"/>
                  </a:lnTo>
                  <a:lnTo>
                    <a:pt x="428269" y="435195"/>
                  </a:lnTo>
                  <a:lnTo>
                    <a:pt x="457999" y="399163"/>
                  </a:lnTo>
                  <a:lnTo>
                    <a:pt x="494031" y="369433"/>
                  </a:lnTo>
                  <a:lnTo>
                    <a:pt x="535388" y="346986"/>
                  </a:lnTo>
                  <a:lnTo>
                    <a:pt x="581090" y="332800"/>
                  </a:lnTo>
                  <a:lnTo>
                    <a:pt x="630158" y="327853"/>
                  </a:lnTo>
                  <a:lnTo>
                    <a:pt x="679227" y="332800"/>
                  </a:lnTo>
                  <a:lnTo>
                    <a:pt x="724929" y="346986"/>
                  </a:lnTo>
                  <a:lnTo>
                    <a:pt x="766285" y="369433"/>
                  </a:lnTo>
                  <a:lnTo>
                    <a:pt x="802318" y="399163"/>
                  </a:lnTo>
                  <a:lnTo>
                    <a:pt x="832047" y="435195"/>
                  </a:lnTo>
                  <a:lnTo>
                    <a:pt x="854495" y="476552"/>
                  </a:lnTo>
                  <a:lnTo>
                    <a:pt x="868681" y="522254"/>
                  </a:lnTo>
                  <a:lnTo>
                    <a:pt x="873627" y="571322"/>
                  </a:lnTo>
                  <a:lnTo>
                    <a:pt x="873627" y="657058"/>
                  </a:lnTo>
                  <a:lnTo>
                    <a:pt x="1255323" y="657058"/>
                  </a:lnTo>
                  <a:lnTo>
                    <a:pt x="1255323" y="1342650"/>
                  </a:lnTo>
                  <a:lnTo>
                    <a:pt x="871177" y="1342650"/>
                  </a:lnTo>
                  <a:lnTo>
                    <a:pt x="871177" y="1343299"/>
                  </a:lnTo>
                  <a:lnTo>
                    <a:pt x="1255982" y="1343299"/>
                  </a:lnTo>
                  <a:lnTo>
                    <a:pt x="1255982" y="627991"/>
                  </a:lnTo>
                  <a:lnTo>
                    <a:pt x="1254093" y="578913"/>
                  </a:lnTo>
                  <a:lnTo>
                    <a:pt x="1248518" y="530868"/>
                  </a:lnTo>
                  <a:lnTo>
                    <a:pt x="1239396" y="483996"/>
                  </a:lnTo>
                  <a:lnTo>
                    <a:pt x="1226869" y="438436"/>
                  </a:lnTo>
                  <a:lnTo>
                    <a:pt x="1211074" y="394329"/>
                  </a:lnTo>
                  <a:lnTo>
                    <a:pt x="1192152" y="351813"/>
                  </a:lnTo>
                  <a:lnTo>
                    <a:pt x="1170242" y="311028"/>
                  </a:lnTo>
                  <a:lnTo>
                    <a:pt x="1145485" y="272114"/>
                  </a:lnTo>
                  <a:lnTo>
                    <a:pt x="1118019" y="235211"/>
                  </a:lnTo>
                  <a:lnTo>
                    <a:pt x="1087984" y="200458"/>
                  </a:lnTo>
                  <a:lnTo>
                    <a:pt x="1055520" y="167994"/>
                  </a:lnTo>
                  <a:lnTo>
                    <a:pt x="1020766" y="137960"/>
                  </a:lnTo>
                  <a:lnTo>
                    <a:pt x="983863" y="110494"/>
                  </a:lnTo>
                  <a:lnTo>
                    <a:pt x="944949" y="85737"/>
                  </a:lnTo>
                  <a:lnTo>
                    <a:pt x="904164" y="63828"/>
                  </a:lnTo>
                  <a:lnTo>
                    <a:pt x="861649" y="44906"/>
                  </a:lnTo>
                  <a:lnTo>
                    <a:pt x="817542" y="29112"/>
                  </a:lnTo>
                  <a:lnTo>
                    <a:pt x="771983" y="16585"/>
                  </a:lnTo>
                  <a:lnTo>
                    <a:pt x="725111" y="7464"/>
                  </a:lnTo>
                  <a:lnTo>
                    <a:pt x="677068" y="1889"/>
                  </a:lnTo>
                  <a:lnTo>
                    <a:pt x="627991" y="0"/>
                  </a:lnTo>
                  <a:close/>
                </a:path>
              </a:pathLst>
            </a:custGeom>
            <a:solidFill>
              <a:srgbClr val="E49487"/>
            </a:solidFill>
          </p:spPr>
          <p:txBody>
            <a:bodyPr wrap="square" lIns="0" tIns="0" rIns="0" bIns="0" rtlCol="0"/>
            <a:lstStyle/>
            <a:p>
              <a:endParaRPr/>
            </a:p>
          </p:txBody>
        </p:sp>
        <p:sp>
          <p:nvSpPr>
            <p:cNvPr id="19" name="object 24">
              <a:extLst>
                <a:ext uri="{FF2B5EF4-FFF2-40B4-BE49-F238E27FC236}">
                  <a16:creationId xmlns:a16="http://schemas.microsoft.com/office/drawing/2014/main" id="{B92F2F8C-BA6D-7F04-570C-45C6C35DF2D2}"/>
                </a:ext>
              </a:extLst>
            </p:cNvPr>
            <p:cNvSpPr/>
            <p:nvPr/>
          </p:nvSpPr>
          <p:spPr>
            <a:xfrm>
              <a:off x="1241444" y="1335434"/>
              <a:ext cx="487045" cy="531495"/>
            </a:xfrm>
            <a:custGeom>
              <a:avLst/>
              <a:gdLst/>
              <a:ahLst/>
              <a:cxnLst/>
              <a:rect l="l" t="t" r="r" b="b"/>
              <a:pathLst>
                <a:path w="487044" h="531494">
                  <a:moveTo>
                    <a:pt x="243469" y="0"/>
                  </a:moveTo>
                  <a:lnTo>
                    <a:pt x="194400" y="4946"/>
                  </a:lnTo>
                  <a:lnTo>
                    <a:pt x="148698" y="19132"/>
                  </a:lnTo>
                  <a:lnTo>
                    <a:pt x="107341" y="41580"/>
                  </a:lnTo>
                  <a:lnTo>
                    <a:pt x="71309" y="71310"/>
                  </a:lnTo>
                  <a:lnTo>
                    <a:pt x="41579" y="107344"/>
                  </a:lnTo>
                  <a:lnTo>
                    <a:pt x="19132" y="148703"/>
                  </a:lnTo>
                  <a:lnTo>
                    <a:pt x="4946" y="194407"/>
                  </a:lnTo>
                  <a:lnTo>
                    <a:pt x="0" y="243479"/>
                  </a:lnTo>
                  <a:lnTo>
                    <a:pt x="0" y="530947"/>
                  </a:lnTo>
                  <a:lnTo>
                    <a:pt x="368952" y="530947"/>
                  </a:lnTo>
                  <a:lnTo>
                    <a:pt x="486938" y="461430"/>
                  </a:lnTo>
                  <a:lnTo>
                    <a:pt x="486938" y="426615"/>
                  </a:lnTo>
                  <a:lnTo>
                    <a:pt x="287111" y="426615"/>
                  </a:lnTo>
                  <a:lnTo>
                    <a:pt x="253518" y="423236"/>
                  </a:lnTo>
                  <a:lnTo>
                    <a:pt x="216937" y="411897"/>
                  </a:lnTo>
                  <a:lnTo>
                    <a:pt x="181189" y="393291"/>
                  </a:lnTo>
                  <a:lnTo>
                    <a:pt x="150100" y="368114"/>
                  </a:lnTo>
                  <a:lnTo>
                    <a:pt x="126475" y="335852"/>
                  </a:lnTo>
                  <a:lnTo>
                    <a:pt x="119426" y="309669"/>
                  </a:lnTo>
                  <a:lnTo>
                    <a:pt x="120182" y="294623"/>
                  </a:lnTo>
                  <a:lnTo>
                    <a:pt x="140862" y="256935"/>
                  </a:lnTo>
                  <a:lnTo>
                    <a:pt x="183879" y="244285"/>
                  </a:lnTo>
                  <a:lnTo>
                    <a:pt x="255350" y="244285"/>
                  </a:lnTo>
                  <a:lnTo>
                    <a:pt x="260879" y="237234"/>
                  </a:lnTo>
                  <a:lnTo>
                    <a:pt x="272436" y="227623"/>
                  </a:lnTo>
                  <a:lnTo>
                    <a:pt x="287907" y="221741"/>
                  </a:lnTo>
                  <a:lnTo>
                    <a:pt x="306436" y="220543"/>
                  </a:lnTo>
                  <a:lnTo>
                    <a:pt x="484626" y="220543"/>
                  </a:lnTo>
                  <a:lnTo>
                    <a:pt x="481991" y="194407"/>
                  </a:lnTo>
                  <a:lnTo>
                    <a:pt x="467805" y="148703"/>
                  </a:lnTo>
                  <a:lnTo>
                    <a:pt x="445358" y="107344"/>
                  </a:lnTo>
                  <a:lnTo>
                    <a:pt x="415628" y="71310"/>
                  </a:lnTo>
                  <a:lnTo>
                    <a:pt x="379596" y="41580"/>
                  </a:lnTo>
                  <a:lnTo>
                    <a:pt x="338239" y="19132"/>
                  </a:lnTo>
                  <a:lnTo>
                    <a:pt x="292537" y="4946"/>
                  </a:lnTo>
                  <a:lnTo>
                    <a:pt x="243469" y="0"/>
                  </a:lnTo>
                  <a:close/>
                </a:path>
                <a:path w="487044" h="531494">
                  <a:moveTo>
                    <a:pt x="484626" y="220543"/>
                  </a:moveTo>
                  <a:lnTo>
                    <a:pt x="306436" y="220543"/>
                  </a:lnTo>
                  <a:lnTo>
                    <a:pt x="324520" y="224385"/>
                  </a:lnTo>
                  <a:lnTo>
                    <a:pt x="340587" y="232909"/>
                  </a:lnTo>
                  <a:lnTo>
                    <a:pt x="353067" y="245751"/>
                  </a:lnTo>
                  <a:lnTo>
                    <a:pt x="361556" y="265306"/>
                  </a:lnTo>
                  <a:lnTo>
                    <a:pt x="363304" y="286738"/>
                  </a:lnTo>
                  <a:lnTo>
                    <a:pt x="360051" y="308813"/>
                  </a:lnTo>
                  <a:lnTo>
                    <a:pt x="341872" y="357927"/>
                  </a:lnTo>
                  <a:lnTo>
                    <a:pt x="309874" y="404706"/>
                  </a:lnTo>
                  <a:lnTo>
                    <a:pt x="287111" y="426615"/>
                  </a:lnTo>
                  <a:lnTo>
                    <a:pt x="486938" y="426615"/>
                  </a:lnTo>
                  <a:lnTo>
                    <a:pt x="486938" y="243479"/>
                  </a:lnTo>
                  <a:lnTo>
                    <a:pt x="484626" y="220543"/>
                  </a:lnTo>
                  <a:close/>
                </a:path>
                <a:path w="487044" h="531494">
                  <a:moveTo>
                    <a:pt x="255350" y="244285"/>
                  </a:moveTo>
                  <a:lnTo>
                    <a:pt x="183879" y="244285"/>
                  </a:lnTo>
                  <a:lnTo>
                    <a:pt x="198986" y="246268"/>
                  </a:lnTo>
                  <a:lnTo>
                    <a:pt x="213655" y="250595"/>
                  </a:lnTo>
                  <a:lnTo>
                    <a:pt x="227496" y="257006"/>
                  </a:lnTo>
                  <a:lnTo>
                    <a:pt x="240118" y="265237"/>
                  </a:lnTo>
                  <a:lnTo>
                    <a:pt x="250889" y="249973"/>
                  </a:lnTo>
                  <a:lnTo>
                    <a:pt x="255350" y="244285"/>
                  </a:lnTo>
                  <a:close/>
                </a:path>
              </a:pathLst>
            </a:custGeom>
            <a:solidFill>
              <a:srgbClr val="D95B2F"/>
            </a:solidFill>
          </p:spPr>
          <p:txBody>
            <a:bodyPr wrap="square" lIns="0" tIns="0" rIns="0" bIns="0" rtlCol="0"/>
            <a:lstStyle/>
            <a:p>
              <a:endParaRPr/>
            </a:p>
          </p:txBody>
        </p:sp>
        <p:pic>
          <p:nvPicPr>
            <p:cNvPr id="20" name="object 25">
              <a:extLst>
                <a:ext uri="{FF2B5EF4-FFF2-40B4-BE49-F238E27FC236}">
                  <a16:creationId xmlns:a16="http://schemas.microsoft.com/office/drawing/2014/main" id="{FEF0B98D-C57D-202E-AC67-3BDE3E70EC15}"/>
                </a:ext>
              </a:extLst>
            </p:cNvPr>
            <p:cNvPicPr/>
            <p:nvPr/>
          </p:nvPicPr>
          <p:blipFill>
            <a:blip r:embed="rId4" cstate="print"/>
            <a:stretch>
              <a:fillRect/>
            </a:stretch>
          </p:blipFill>
          <p:spPr>
            <a:xfrm>
              <a:off x="1459737" y="2075839"/>
              <a:ext cx="72584" cy="72563"/>
            </a:xfrm>
            <a:prstGeom prst="rect">
              <a:avLst/>
            </a:prstGeom>
          </p:spPr>
        </p:pic>
        <p:sp>
          <p:nvSpPr>
            <p:cNvPr id="21" name="object 26">
              <a:extLst>
                <a:ext uri="{FF2B5EF4-FFF2-40B4-BE49-F238E27FC236}">
                  <a16:creationId xmlns:a16="http://schemas.microsoft.com/office/drawing/2014/main" id="{058EEB96-D1C0-97B0-ACC6-72B444B966F5}"/>
                </a:ext>
              </a:extLst>
            </p:cNvPr>
            <p:cNvSpPr/>
            <p:nvPr/>
          </p:nvSpPr>
          <p:spPr>
            <a:xfrm>
              <a:off x="1241421" y="1866379"/>
              <a:ext cx="484505" cy="484505"/>
            </a:xfrm>
            <a:custGeom>
              <a:avLst/>
              <a:gdLst/>
              <a:ahLst/>
              <a:cxnLst/>
              <a:rect l="l" t="t" r="r" b="b"/>
              <a:pathLst>
                <a:path w="484505" h="484505">
                  <a:moveTo>
                    <a:pt x="368983" y="0"/>
                  </a:moveTo>
                  <a:lnTo>
                    <a:pt x="0" y="0"/>
                  </a:lnTo>
                  <a:lnTo>
                    <a:pt x="0" y="484508"/>
                  </a:lnTo>
                  <a:lnTo>
                    <a:pt x="484508" y="484508"/>
                  </a:lnTo>
                  <a:lnTo>
                    <a:pt x="484508" y="389956"/>
                  </a:lnTo>
                  <a:lnTo>
                    <a:pt x="246453" y="389956"/>
                  </a:lnTo>
                  <a:lnTo>
                    <a:pt x="239835" y="383318"/>
                  </a:lnTo>
                  <a:lnTo>
                    <a:pt x="239835" y="378229"/>
                  </a:lnTo>
                  <a:lnTo>
                    <a:pt x="199093" y="378229"/>
                  </a:lnTo>
                  <a:lnTo>
                    <a:pt x="196988" y="377789"/>
                  </a:lnTo>
                  <a:lnTo>
                    <a:pt x="187554" y="373444"/>
                  </a:lnTo>
                  <a:lnTo>
                    <a:pt x="184298" y="364627"/>
                  </a:lnTo>
                  <a:lnTo>
                    <a:pt x="189864" y="352554"/>
                  </a:lnTo>
                  <a:lnTo>
                    <a:pt x="160539" y="352554"/>
                  </a:lnTo>
                  <a:lnTo>
                    <a:pt x="156759" y="351099"/>
                  </a:lnTo>
                  <a:lnTo>
                    <a:pt x="148079" y="342418"/>
                  </a:lnTo>
                  <a:lnTo>
                    <a:pt x="148079" y="333036"/>
                  </a:lnTo>
                  <a:lnTo>
                    <a:pt x="165758" y="315362"/>
                  </a:lnTo>
                  <a:lnTo>
                    <a:pt x="132896" y="315362"/>
                  </a:lnTo>
                  <a:lnTo>
                    <a:pt x="127524" y="312147"/>
                  </a:lnTo>
                  <a:lnTo>
                    <a:pt x="121629" y="299247"/>
                  </a:lnTo>
                  <a:lnTo>
                    <a:pt x="124896" y="290462"/>
                  </a:lnTo>
                  <a:lnTo>
                    <a:pt x="186622" y="262243"/>
                  </a:lnTo>
                  <a:lnTo>
                    <a:pt x="118760" y="262243"/>
                  </a:lnTo>
                  <a:lnTo>
                    <a:pt x="112111" y="255615"/>
                  </a:lnTo>
                  <a:lnTo>
                    <a:pt x="112111" y="239238"/>
                  </a:lnTo>
                  <a:lnTo>
                    <a:pt x="118760" y="232610"/>
                  </a:lnTo>
                  <a:lnTo>
                    <a:pt x="187114" y="232610"/>
                  </a:lnTo>
                  <a:lnTo>
                    <a:pt x="125032" y="203993"/>
                  </a:lnTo>
                  <a:lnTo>
                    <a:pt x="121776" y="195198"/>
                  </a:lnTo>
                  <a:lnTo>
                    <a:pt x="128645" y="180329"/>
                  </a:lnTo>
                  <a:lnTo>
                    <a:pt x="137440" y="177083"/>
                  </a:lnTo>
                  <a:lnTo>
                    <a:pt x="163345" y="177083"/>
                  </a:lnTo>
                  <a:lnTo>
                    <a:pt x="148079" y="161817"/>
                  </a:lnTo>
                  <a:lnTo>
                    <a:pt x="148079" y="152435"/>
                  </a:lnTo>
                  <a:lnTo>
                    <a:pt x="159649" y="140864"/>
                  </a:lnTo>
                  <a:lnTo>
                    <a:pt x="189629" y="140864"/>
                  </a:lnTo>
                  <a:lnTo>
                    <a:pt x="184664" y="130006"/>
                  </a:lnTo>
                  <a:lnTo>
                    <a:pt x="187941" y="121210"/>
                  </a:lnTo>
                  <a:lnTo>
                    <a:pt x="202821" y="114404"/>
                  </a:lnTo>
                  <a:lnTo>
                    <a:pt x="239835" y="114404"/>
                  </a:lnTo>
                  <a:lnTo>
                    <a:pt x="239835" y="111535"/>
                  </a:lnTo>
                  <a:lnTo>
                    <a:pt x="246453" y="104897"/>
                  </a:lnTo>
                  <a:lnTo>
                    <a:pt x="484508" y="104897"/>
                  </a:lnTo>
                  <a:lnTo>
                    <a:pt x="484508" y="51045"/>
                  </a:lnTo>
                  <a:lnTo>
                    <a:pt x="367779" y="701"/>
                  </a:lnTo>
                  <a:lnTo>
                    <a:pt x="368983" y="0"/>
                  </a:lnTo>
                  <a:close/>
                </a:path>
                <a:path w="484505" h="484505">
                  <a:moveTo>
                    <a:pt x="269468" y="315466"/>
                  </a:moveTo>
                  <a:lnTo>
                    <a:pt x="269468" y="383318"/>
                  </a:lnTo>
                  <a:lnTo>
                    <a:pt x="262829" y="389956"/>
                  </a:lnTo>
                  <a:lnTo>
                    <a:pt x="484508" y="389956"/>
                  </a:lnTo>
                  <a:lnTo>
                    <a:pt x="484508" y="378386"/>
                  </a:lnTo>
                  <a:lnTo>
                    <a:pt x="302147" y="378386"/>
                  </a:lnTo>
                  <a:lnTo>
                    <a:pt x="296776" y="375182"/>
                  </a:lnTo>
                  <a:lnTo>
                    <a:pt x="269468" y="315466"/>
                  </a:lnTo>
                  <a:close/>
                </a:path>
                <a:path w="484505" h="484505">
                  <a:moveTo>
                    <a:pt x="302315" y="316053"/>
                  </a:moveTo>
                  <a:lnTo>
                    <a:pt x="324628" y="364847"/>
                  </a:lnTo>
                  <a:lnTo>
                    <a:pt x="321361" y="373643"/>
                  </a:lnTo>
                  <a:lnTo>
                    <a:pt x="311917" y="377957"/>
                  </a:lnTo>
                  <a:lnTo>
                    <a:pt x="309823" y="378386"/>
                  </a:lnTo>
                  <a:lnTo>
                    <a:pt x="484508" y="378386"/>
                  </a:lnTo>
                  <a:lnTo>
                    <a:pt x="484508" y="352554"/>
                  </a:lnTo>
                  <a:lnTo>
                    <a:pt x="341162" y="352554"/>
                  </a:lnTo>
                  <a:lnTo>
                    <a:pt x="337361" y="351099"/>
                  </a:lnTo>
                  <a:lnTo>
                    <a:pt x="302315" y="316053"/>
                  </a:lnTo>
                  <a:close/>
                </a:path>
                <a:path w="484505" h="484505">
                  <a:moveTo>
                    <a:pt x="239835" y="314964"/>
                  </a:moveTo>
                  <a:lnTo>
                    <a:pt x="212129" y="375035"/>
                  </a:lnTo>
                  <a:lnTo>
                    <a:pt x="206768" y="378229"/>
                  </a:lnTo>
                  <a:lnTo>
                    <a:pt x="239835" y="378229"/>
                  </a:lnTo>
                  <a:lnTo>
                    <a:pt x="239835" y="314964"/>
                  </a:lnTo>
                  <a:close/>
                </a:path>
                <a:path w="484505" h="484505">
                  <a:moveTo>
                    <a:pt x="206454" y="316576"/>
                  </a:moveTo>
                  <a:lnTo>
                    <a:pt x="171931" y="351099"/>
                  </a:lnTo>
                  <a:lnTo>
                    <a:pt x="168131" y="352554"/>
                  </a:lnTo>
                  <a:lnTo>
                    <a:pt x="189864" y="352554"/>
                  </a:lnTo>
                  <a:lnTo>
                    <a:pt x="206454" y="316576"/>
                  </a:lnTo>
                  <a:close/>
                </a:path>
                <a:path w="484505" h="484505">
                  <a:moveTo>
                    <a:pt x="323801" y="295624"/>
                  </a:moveTo>
                  <a:lnTo>
                    <a:pt x="361214" y="333036"/>
                  </a:lnTo>
                  <a:lnTo>
                    <a:pt x="361214" y="342418"/>
                  </a:lnTo>
                  <a:lnTo>
                    <a:pt x="352533" y="351099"/>
                  </a:lnTo>
                  <a:lnTo>
                    <a:pt x="348753" y="352554"/>
                  </a:lnTo>
                  <a:lnTo>
                    <a:pt x="484508" y="352554"/>
                  </a:lnTo>
                  <a:lnTo>
                    <a:pt x="484508" y="315707"/>
                  </a:lnTo>
                  <a:lnTo>
                    <a:pt x="368543" y="315707"/>
                  </a:lnTo>
                  <a:lnTo>
                    <a:pt x="366428" y="315278"/>
                  </a:lnTo>
                  <a:lnTo>
                    <a:pt x="323801" y="295624"/>
                  </a:lnTo>
                  <a:close/>
                </a:path>
                <a:path w="484505" h="484505">
                  <a:moveTo>
                    <a:pt x="484508" y="177439"/>
                  </a:moveTo>
                  <a:lnTo>
                    <a:pt x="372072" y="177439"/>
                  </a:lnTo>
                  <a:lnTo>
                    <a:pt x="380857" y="180717"/>
                  </a:lnTo>
                  <a:lnTo>
                    <a:pt x="387674" y="195596"/>
                  </a:lnTo>
                  <a:lnTo>
                    <a:pt x="384396" y="204391"/>
                  </a:lnTo>
                  <a:lnTo>
                    <a:pt x="322681" y="232610"/>
                  </a:lnTo>
                  <a:lnTo>
                    <a:pt x="390532" y="232610"/>
                  </a:lnTo>
                  <a:lnTo>
                    <a:pt x="397181" y="239238"/>
                  </a:lnTo>
                  <a:lnTo>
                    <a:pt x="397181" y="255615"/>
                  </a:lnTo>
                  <a:lnTo>
                    <a:pt x="390532" y="262243"/>
                  </a:lnTo>
                  <a:lnTo>
                    <a:pt x="322178" y="262243"/>
                  </a:lnTo>
                  <a:lnTo>
                    <a:pt x="384271" y="290860"/>
                  </a:lnTo>
                  <a:lnTo>
                    <a:pt x="387516" y="299666"/>
                  </a:lnTo>
                  <a:lnTo>
                    <a:pt x="381580" y="312514"/>
                  </a:lnTo>
                  <a:lnTo>
                    <a:pt x="376218" y="315707"/>
                  </a:lnTo>
                  <a:lnTo>
                    <a:pt x="484508" y="315707"/>
                  </a:lnTo>
                  <a:lnTo>
                    <a:pt x="484508" y="177439"/>
                  </a:lnTo>
                  <a:close/>
                </a:path>
                <a:path w="484505" h="484505">
                  <a:moveTo>
                    <a:pt x="186025" y="295100"/>
                  </a:moveTo>
                  <a:lnTo>
                    <a:pt x="142665" y="314922"/>
                  </a:lnTo>
                  <a:lnTo>
                    <a:pt x="140571" y="315362"/>
                  </a:lnTo>
                  <a:lnTo>
                    <a:pt x="165758" y="315362"/>
                  </a:lnTo>
                  <a:lnTo>
                    <a:pt x="186025" y="295100"/>
                  </a:lnTo>
                  <a:close/>
                </a:path>
                <a:path w="484505" h="484505">
                  <a:moveTo>
                    <a:pt x="484508" y="140864"/>
                  </a:moveTo>
                  <a:lnTo>
                    <a:pt x="349643" y="140864"/>
                  </a:lnTo>
                  <a:lnTo>
                    <a:pt x="361214" y="152435"/>
                  </a:lnTo>
                  <a:lnTo>
                    <a:pt x="361214" y="161817"/>
                  </a:lnTo>
                  <a:lnTo>
                    <a:pt x="323267" y="199753"/>
                  </a:lnTo>
                  <a:lnTo>
                    <a:pt x="372072" y="177439"/>
                  </a:lnTo>
                  <a:lnTo>
                    <a:pt x="484508" y="177439"/>
                  </a:lnTo>
                  <a:lnTo>
                    <a:pt x="484508" y="140864"/>
                  </a:lnTo>
                  <a:close/>
                </a:path>
                <a:path w="484505" h="484505">
                  <a:moveTo>
                    <a:pt x="163345" y="177083"/>
                  </a:moveTo>
                  <a:lnTo>
                    <a:pt x="137440" y="177083"/>
                  </a:lnTo>
                  <a:lnTo>
                    <a:pt x="185491" y="199229"/>
                  </a:lnTo>
                  <a:lnTo>
                    <a:pt x="163345" y="177083"/>
                  </a:lnTo>
                  <a:close/>
                </a:path>
                <a:path w="484505" h="484505">
                  <a:moveTo>
                    <a:pt x="484508" y="104897"/>
                  </a:moveTo>
                  <a:lnTo>
                    <a:pt x="262829" y="104897"/>
                  </a:lnTo>
                  <a:lnTo>
                    <a:pt x="269468" y="111535"/>
                  </a:lnTo>
                  <a:lnTo>
                    <a:pt x="269468" y="179900"/>
                  </a:lnTo>
                  <a:lnTo>
                    <a:pt x="298085" y="117818"/>
                  </a:lnTo>
                  <a:lnTo>
                    <a:pt x="306891" y="114561"/>
                  </a:lnTo>
                  <a:lnTo>
                    <a:pt x="484508" y="114561"/>
                  </a:lnTo>
                  <a:lnTo>
                    <a:pt x="484508" y="104897"/>
                  </a:lnTo>
                  <a:close/>
                </a:path>
                <a:path w="484505" h="484505">
                  <a:moveTo>
                    <a:pt x="239835" y="114404"/>
                  </a:moveTo>
                  <a:lnTo>
                    <a:pt x="202821" y="114404"/>
                  </a:lnTo>
                  <a:lnTo>
                    <a:pt x="211606" y="117671"/>
                  </a:lnTo>
                  <a:lnTo>
                    <a:pt x="239835" y="179397"/>
                  </a:lnTo>
                  <a:lnTo>
                    <a:pt x="239835" y="114404"/>
                  </a:lnTo>
                  <a:close/>
                </a:path>
                <a:path w="484505" h="484505">
                  <a:moveTo>
                    <a:pt x="189629" y="140864"/>
                  </a:moveTo>
                  <a:lnTo>
                    <a:pt x="169041" y="140864"/>
                  </a:lnTo>
                  <a:lnTo>
                    <a:pt x="206977" y="178800"/>
                  </a:lnTo>
                  <a:lnTo>
                    <a:pt x="189629" y="140864"/>
                  </a:lnTo>
                  <a:close/>
                </a:path>
                <a:path w="484505" h="484505">
                  <a:moveTo>
                    <a:pt x="484508" y="114561"/>
                  </a:moveTo>
                  <a:lnTo>
                    <a:pt x="306891" y="114561"/>
                  </a:lnTo>
                  <a:lnTo>
                    <a:pt x="321749" y="121420"/>
                  </a:lnTo>
                  <a:lnTo>
                    <a:pt x="324995" y="130226"/>
                  </a:lnTo>
                  <a:lnTo>
                    <a:pt x="302838" y="178277"/>
                  </a:lnTo>
                  <a:lnTo>
                    <a:pt x="340251" y="140864"/>
                  </a:lnTo>
                  <a:lnTo>
                    <a:pt x="484508" y="140864"/>
                  </a:lnTo>
                  <a:lnTo>
                    <a:pt x="484508" y="114561"/>
                  </a:lnTo>
                  <a:close/>
                </a:path>
              </a:pathLst>
            </a:custGeom>
            <a:solidFill>
              <a:srgbClr val="7EB97D"/>
            </a:solidFill>
          </p:spPr>
          <p:txBody>
            <a:bodyPr wrap="square" lIns="0" tIns="0" rIns="0" bIns="0" rtlCol="0"/>
            <a:lstStyle/>
            <a:p>
              <a:endParaRPr/>
            </a:p>
          </p:txBody>
        </p:sp>
        <p:pic>
          <p:nvPicPr>
            <p:cNvPr id="22" name="object 27">
              <a:extLst>
                <a:ext uri="{FF2B5EF4-FFF2-40B4-BE49-F238E27FC236}">
                  <a16:creationId xmlns:a16="http://schemas.microsoft.com/office/drawing/2014/main" id="{80FF38FB-0289-D132-F7A4-DE7849D8A8D2}"/>
                </a:ext>
              </a:extLst>
            </p:cNvPr>
            <p:cNvPicPr/>
            <p:nvPr/>
          </p:nvPicPr>
          <p:blipFill>
            <a:blip r:embed="rId5" cstate="print"/>
            <a:stretch>
              <a:fillRect/>
            </a:stretch>
          </p:blipFill>
          <p:spPr>
            <a:xfrm>
              <a:off x="1360871" y="1555977"/>
              <a:ext cx="243876" cy="206072"/>
            </a:xfrm>
            <a:prstGeom prst="rect">
              <a:avLst/>
            </a:prstGeom>
          </p:spPr>
        </p:pic>
        <p:sp>
          <p:nvSpPr>
            <p:cNvPr id="23" name="object 28">
              <a:extLst>
                <a:ext uri="{FF2B5EF4-FFF2-40B4-BE49-F238E27FC236}">
                  <a16:creationId xmlns:a16="http://schemas.microsoft.com/office/drawing/2014/main" id="{49508596-BF5F-05E7-E5DC-CE11E0FF2245}"/>
                </a:ext>
              </a:extLst>
            </p:cNvPr>
            <p:cNvSpPr/>
            <p:nvPr/>
          </p:nvSpPr>
          <p:spPr>
            <a:xfrm>
              <a:off x="1353541" y="1971278"/>
              <a:ext cx="285115" cy="285115"/>
            </a:xfrm>
            <a:custGeom>
              <a:avLst/>
              <a:gdLst/>
              <a:ahLst/>
              <a:cxnLst/>
              <a:rect l="l" t="t" r="r" b="b"/>
              <a:pathLst>
                <a:path w="285114" h="285114">
                  <a:moveTo>
                    <a:pt x="231024" y="210066"/>
                  </a:moveTo>
                  <a:lnTo>
                    <a:pt x="127713" y="210066"/>
                  </a:lnTo>
                  <a:lnTo>
                    <a:pt x="127713" y="278420"/>
                  </a:lnTo>
                  <a:lnTo>
                    <a:pt x="134341" y="285059"/>
                  </a:lnTo>
                  <a:lnTo>
                    <a:pt x="150707" y="285059"/>
                  </a:lnTo>
                  <a:lnTo>
                    <a:pt x="157345" y="278420"/>
                  </a:lnTo>
                  <a:lnTo>
                    <a:pt x="157345" y="210559"/>
                  </a:lnTo>
                  <a:lnTo>
                    <a:pt x="231516" y="210559"/>
                  </a:lnTo>
                  <a:lnTo>
                    <a:pt x="231024" y="210066"/>
                  </a:lnTo>
                  <a:close/>
                </a:path>
                <a:path w="285114" h="285114">
                  <a:moveTo>
                    <a:pt x="231516" y="210559"/>
                  </a:moveTo>
                  <a:lnTo>
                    <a:pt x="157345" y="210559"/>
                  </a:lnTo>
                  <a:lnTo>
                    <a:pt x="184654" y="270284"/>
                  </a:lnTo>
                  <a:lnTo>
                    <a:pt x="190025" y="273489"/>
                  </a:lnTo>
                  <a:lnTo>
                    <a:pt x="197700" y="273489"/>
                  </a:lnTo>
                  <a:lnTo>
                    <a:pt x="199805" y="273059"/>
                  </a:lnTo>
                  <a:lnTo>
                    <a:pt x="209239" y="268745"/>
                  </a:lnTo>
                  <a:lnTo>
                    <a:pt x="212506" y="259950"/>
                  </a:lnTo>
                  <a:lnTo>
                    <a:pt x="190203" y="211155"/>
                  </a:lnTo>
                  <a:lnTo>
                    <a:pt x="232113" y="211155"/>
                  </a:lnTo>
                  <a:lnTo>
                    <a:pt x="231516" y="210559"/>
                  </a:lnTo>
                  <a:close/>
                </a:path>
                <a:path w="285114" h="285114">
                  <a:moveTo>
                    <a:pt x="126969" y="211679"/>
                  </a:moveTo>
                  <a:lnTo>
                    <a:pt x="94332" y="211679"/>
                  </a:lnTo>
                  <a:lnTo>
                    <a:pt x="72175" y="259730"/>
                  </a:lnTo>
                  <a:lnTo>
                    <a:pt x="75432" y="268536"/>
                  </a:lnTo>
                  <a:lnTo>
                    <a:pt x="84866" y="272892"/>
                  </a:lnTo>
                  <a:lnTo>
                    <a:pt x="86971" y="273331"/>
                  </a:lnTo>
                  <a:lnTo>
                    <a:pt x="94656" y="273331"/>
                  </a:lnTo>
                  <a:lnTo>
                    <a:pt x="100007" y="270138"/>
                  </a:lnTo>
                  <a:lnTo>
                    <a:pt x="126969" y="211679"/>
                  </a:lnTo>
                  <a:close/>
                </a:path>
                <a:path w="285114" h="285114">
                  <a:moveTo>
                    <a:pt x="273711" y="190203"/>
                  </a:moveTo>
                  <a:lnTo>
                    <a:pt x="73903" y="190203"/>
                  </a:lnTo>
                  <a:lnTo>
                    <a:pt x="35957" y="228139"/>
                  </a:lnTo>
                  <a:lnTo>
                    <a:pt x="35957" y="237521"/>
                  </a:lnTo>
                  <a:lnTo>
                    <a:pt x="44637" y="246201"/>
                  </a:lnTo>
                  <a:lnTo>
                    <a:pt x="48427" y="247646"/>
                  </a:lnTo>
                  <a:lnTo>
                    <a:pt x="56008" y="247646"/>
                  </a:lnTo>
                  <a:lnTo>
                    <a:pt x="59809" y="246201"/>
                  </a:lnTo>
                  <a:lnTo>
                    <a:pt x="94332" y="211679"/>
                  </a:lnTo>
                  <a:lnTo>
                    <a:pt x="126969" y="211679"/>
                  </a:lnTo>
                  <a:lnTo>
                    <a:pt x="127713" y="210066"/>
                  </a:lnTo>
                  <a:lnTo>
                    <a:pt x="231024" y="210066"/>
                  </a:lnTo>
                  <a:lnTo>
                    <a:pt x="211679" y="190727"/>
                  </a:lnTo>
                  <a:lnTo>
                    <a:pt x="273904" y="190727"/>
                  </a:lnTo>
                  <a:lnTo>
                    <a:pt x="273711" y="190203"/>
                  </a:lnTo>
                  <a:close/>
                </a:path>
                <a:path w="285114" h="285114">
                  <a:moveTo>
                    <a:pt x="232113" y="211155"/>
                  </a:moveTo>
                  <a:lnTo>
                    <a:pt x="190203" y="211155"/>
                  </a:lnTo>
                  <a:lnTo>
                    <a:pt x="225239" y="246201"/>
                  </a:lnTo>
                  <a:lnTo>
                    <a:pt x="229050" y="247646"/>
                  </a:lnTo>
                  <a:lnTo>
                    <a:pt x="236631" y="247646"/>
                  </a:lnTo>
                  <a:lnTo>
                    <a:pt x="240421" y="246201"/>
                  </a:lnTo>
                  <a:lnTo>
                    <a:pt x="249102" y="237521"/>
                  </a:lnTo>
                  <a:lnTo>
                    <a:pt x="249102" y="228139"/>
                  </a:lnTo>
                  <a:lnTo>
                    <a:pt x="232113" y="211155"/>
                  </a:lnTo>
                  <a:close/>
                </a:path>
                <a:path w="285114" h="285114">
                  <a:moveTo>
                    <a:pt x="273904" y="190727"/>
                  </a:moveTo>
                  <a:lnTo>
                    <a:pt x="211679" y="190727"/>
                  </a:lnTo>
                  <a:lnTo>
                    <a:pt x="254316" y="210381"/>
                  </a:lnTo>
                  <a:lnTo>
                    <a:pt x="256421" y="210810"/>
                  </a:lnTo>
                  <a:lnTo>
                    <a:pt x="264096" y="210810"/>
                  </a:lnTo>
                  <a:lnTo>
                    <a:pt x="269457" y="207616"/>
                  </a:lnTo>
                  <a:lnTo>
                    <a:pt x="275394" y="194768"/>
                  </a:lnTo>
                  <a:lnTo>
                    <a:pt x="273904" y="190727"/>
                  </a:lnTo>
                  <a:close/>
                </a:path>
                <a:path w="285114" h="285114">
                  <a:moveTo>
                    <a:pt x="25329" y="72186"/>
                  </a:moveTo>
                  <a:lnTo>
                    <a:pt x="16523" y="75432"/>
                  </a:lnTo>
                  <a:lnTo>
                    <a:pt x="9654" y="90300"/>
                  </a:lnTo>
                  <a:lnTo>
                    <a:pt x="12910" y="99096"/>
                  </a:lnTo>
                  <a:lnTo>
                    <a:pt x="75002" y="127713"/>
                  </a:lnTo>
                  <a:lnTo>
                    <a:pt x="6638" y="127713"/>
                  </a:lnTo>
                  <a:lnTo>
                    <a:pt x="0" y="134341"/>
                  </a:lnTo>
                  <a:lnTo>
                    <a:pt x="0" y="150717"/>
                  </a:lnTo>
                  <a:lnTo>
                    <a:pt x="6638" y="157345"/>
                  </a:lnTo>
                  <a:lnTo>
                    <a:pt x="74500" y="157345"/>
                  </a:lnTo>
                  <a:lnTo>
                    <a:pt x="12774" y="185565"/>
                  </a:lnTo>
                  <a:lnTo>
                    <a:pt x="9507" y="194350"/>
                  </a:lnTo>
                  <a:lnTo>
                    <a:pt x="15402" y="207239"/>
                  </a:lnTo>
                  <a:lnTo>
                    <a:pt x="20774" y="210464"/>
                  </a:lnTo>
                  <a:lnTo>
                    <a:pt x="28449" y="210464"/>
                  </a:lnTo>
                  <a:lnTo>
                    <a:pt x="30554" y="210025"/>
                  </a:lnTo>
                  <a:lnTo>
                    <a:pt x="73903" y="190203"/>
                  </a:lnTo>
                  <a:lnTo>
                    <a:pt x="273711" y="190203"/>
                  </a:lnTo>
                  <a:lnTo>
                    <a:pt x="272148" y="185962"/>
                  </a:lnTo>
                  <a:lnTo>
                    <a:pt x="252973" y="177125"/>
                  </a:lnTo>
                  <a:lnTo>
                    <a:pt x="142487" y="177125"/>
                  </a:lnTo>
                  <a:lnTo>
                    <a:pt x="128362" y="174273"/>
                  </a:lnTo>
                  <a:lnTo>
                    <a:pt x="116826" y="166494"/>
                  </a:lnTo>
                  <a:lnTo>
                    <a:pt x="109048" y="154958"/>
                  </a:lnTo>
                  <a:lnTo>
                    <a:pt x="106195" y="140833"/>
                  </a:lnTo>
                  <a:lnTo>
                    <a:pt x="109048" y="126715"/>
                  </a:lnTo>
                  <a:lnTo>
                    <a:pt x="116826" y="115186"/>
                  </a:lnTo>
                  <a:lnTo>
                    <a:pt x="128362" y="107412"/>
                  </a:lnTo>
                  <a:lnTo>
                    <a:pt x="142487" y="104562"/>
                  </a:lnTo>
                  <a:lnTo>
                    <a:pt x="261199" y="104562"/>
                  </a:lnTo>
                  <a:lnTo>
                    <a:pt x="272284" y="99494"/>
                  </a:lnTo>
                  <a:lnTo>
                    <a:pt x="274007" y="94855"/>
                  </a:lnTo>
                  <a:lnTo>
                    <a:pt x="211155" y="94855"/>
                  </a:lnTo>
                  <a:lnTo>
                    <a:pt x="211679" y="94332"/>
                  </a:lnTo>
                  <a:lnTo>
                    <a:pt x="73369" y="94332"/>
                  </a:lnTo>
                  <a:lnTo>
                    <a:pt x="25329" y="72186"/>
                  </a:lnTo>
                  <a:close/>
                </a:path>
                <a:path w="285114" h="285114">
                  <a:moveTo>
                    <a:pt x="261199" y="104562"/>
                  </a:moveTo>
                  <a:lnTo>
                    <a:pt x="142487" y="104562"/>
                  </a:lnTo>
                  <a:lnTo>
                    <a:pt x="156613" y="107412"/>
                  </a:lnTo>
                  <a:lnTo>
                    <a:pt x="168149" y="115186"/>
                  </a:lnTo>
                  <a:lnTo>
                    <a:pt x="175927" y="126715"/>
                  </a:lnTo>
                  <a:lnTo>
                    <a:pt x="178779" y="140833"/>
                  </a:lnTo>
                  <a:lnTo>
                    <a:pt x="175927" y="154958"/>
                  </a:lnTo>
                  <a:lnTo>
                    <a:pt x="168149" y="166494"/>
                  </a:lnTo>
                  <a:lnTo>
                    <a:pt x="156613" y="174273"/>
                  </a:lnTo>
                  <a:lnTo>
                    <a:pt x="142487" y="177125"/>
                  </a:lnTo>
                  <a:lnTo>
                    <a:pt x="252973" y="177125"/>
                  </a:lnTo>
                  <a:lnTo>
                    <a:pt x="210056" y="157345"/>
                  </a:lnTo>
                  <a:lnTo>
                    <a:pt x="278410" y="157345"/>
                  </a:lnTo>
                  <a:lnTo>
                    <a:pt x="285059" y="150717"/>
                  </a:lnTo>
                  <a:lnTo>
                    <a:pt x="285059" y="134341"/>
                  </a:lnTo>
                  <a:lnTo>
                    <a:pt x="278410" y="127713"/>
                  </a:lnTo>
                  <a:lnTo>
                    <a:pt x="210559" y="127713"/>
                  </a:lnTo>
                  <a:lnTo>
                    <a:pt x="261199" y="104562"/>
                  </a:lnTo>
                  <a:close/>
                </a:path>
                <a:path w="285114" h="285114">
                  <a:moveTo>
                    <a:pt x="259950" y="72542"/>
                  </a:moveTo>
                  <a:lnTo>
                    <a:pt x="211155" y="94855"/>
                  </a:lnTo>
                  <a:lnTo>
                    <a:pt x="274007" y="94855"/>
                  </a:lnTo>
                  <a:lnTo>
                    <a:pt x="275551" y="90698"/>
                  </a:lnTo>
                  <a:lnTo>
                    <a:pt x="268745" y="75819"/>
                  </a:lnTo>
                  <a:lnTo>
                    <a:pt x="259950" y="72542"/>
                  </a:lnTo>
                  <a:close/>
                </a:path>
                <a:path w="285114" h="285114">
                  <a:moveTo>
                    <a:pt x="56919" y="35967"/>
                  </a:moveTo>
                  <a:lnTo>
                    <a:pt x="47537" y="35967"/>
                  </a:lnTo>
                  <a:lnTo>
                    <a:pt x="35957" y="47537"/>
                  </a:lnTo>
                  <a:lnTo>
                    <a:pt x="35957" y="56919"/>
                  </a:lnTo>
                  <a:lnTo>
                    <a:pt x="73369" y="94332"/>
                  </a:lnTo>
                  <a:lnTo>
                    <a:pt x="211679" y="94332"/>
                  </a:lnTo>
                  <a:lnTo>
                    <a:pt x="231014" y="75002"/>
                  </a:lnTo>
                  <a:lnTo>
                    <a:pt x="157345" y="75002"/>
                  </a:lnTo>
                  <a:lnTo>
                    <a:pt x="157345" y="74500"/>
                  </a:lnTo>
                  <a:lnTo>
                    <a:pt x="127713" y="74500"/>
                  </a:lnTo>
                  <a:lnTo>
                    <a:pt x="127440" y="73903"/>
                  </a:lnTo>
                  <a:lnTo>
                    <a:pt x="94855" y="73903"/>
                  </a:lnTo>
                  <a:lnTo>
                    <a:pt x="56919" y="35967"/>
                  </a:lnTo>
                  <a:close/>
                </a:path>
                <a:path w="285114" h="285114">
                  <a:moveTo>
                    <a:pt x="194768" y="9664"/>
                  </a:moveTo>
                  <a:lnTo>
                    <a:pt x="185962" y="12910"/>
                  </a:lnTo>
                  <a:lnTo>
                    <a:pt x="157345" y="75002"/>
                  </a:lnTo>
                  <a:lnTo>
                    <a:pt x="231014" y="75002"/>
                  </a:lnTo>
                  <a:lnTo>
                    <a:pt x="232637" y="73379"/>
                  </a:lnTo>
                  <a:lnTo>
                    <a:pt x="190716" y="73379"/>
                  </a:lnTo>
                  <a:lnTo>
                    <a:pt x="212883" y="25329"/>
                  </a:lnTo>
                  <a:lnTo>
                    <a:pt x="209627" y="16523"/>
                  </a:lnTo>
                  <a:lnTo>
                    <a:pt x="194768" y="9664"/>
                  </a:lnTo>
                  <a:close/>
                </a:path>
                <a:path w="285114" h="285114">
                  <a:moveTo>
                    <a:pt x="150707" y="0"/>
                  </a:moveTo>
                  <a:lnTo>
                    <a:pt x="134341" y="0"/>
                  </a:lnTo>
                  <a:lnTo>
                    <a:pt x="127713" y="6638"/>
                  </a:lnTo>
                  <a:lnTo>
                    <a:pt x="127713" y="74500"/>
                  </a:lnTo>
                  <a:lnTo>
                    <a:pt x="157345" y="74500"/>
                  </a:lnTo>
                  <a:lnTo>
                    <a:pt x="157345" y="6638"/>
                  </a:lnTo>
                  <a:lnTo>
                    <a:pt x="150707" y="0"/>
                  </a:lnTo>
                  <a:close/>
                </a:path>
                <a:path w="285114" h="285114">
                  <a:moveTo>
                    <a:pt x="90709" y="9507"/>
                  </a:moveTo>
                  <a:lnTo>
                    <a:pt x="75819" y="16313"/>
                  </a:lnTo>
                  <a:lnTo>
                    <a:pt x="72542" y="25109"/>
                  </a:lnTo>
                  <a:lnTo>
                    <a:pt x="94855" y="73903"/>
                  </a:lnTo>
                  <a:lnTo>
                    <a:pt x="127440" y="73903"/>
                  </a:lnTo>
                  <a:lnTo>
                    <a:pt x="99494" y="12774"/>
                  </a:lnTo>
                  <a:lnTo>
                    <a:pt x="90709" y="9507"/>
                  </a:lnTo>
                  <a:close/>
                </a:path>
                <a:path w="285114" h="285114">
                  <a:moveTo>
                    <a:pt x="237521" y="35967"/>
                  </a:moveTo>
                  <a:lnTo>
                    <a:pt x="228139" y="35967"/>
                  </a:lnTo>
                  <a:lnTo>
                    <a:pt x="190716" y="73379"/>
                  </a:lnTo>
                  <a:lnTo>
                    <a:pt x="232637" y="73379"/>
                  </a:lnTo>
                  <a:lnTo>
                    <a:pt x="249102" y="56919"/>
                  </a:lnTo>
                  <a:lnTo>
                    <a:pt x="249102" y="47537"/>
                  </a:lnTo>
                  <a:lnTo>
                    <a:pt x="237521" y="35967"/>
                  </a:lnTo>
                  <a:close/>
                </a:path>
              </a:pathLst>
            </a:custGeom>
            <a:solidFill>
              <a:srgbClr val="FFFFFF"/>
            </a:solidFill>
          </p:spPr>
          <p:txBody>
            <a:bodyPr wrap="square" lIns="0" tIns="0" rIns="0" bIns="0" rtlCol="0"/>
            <a:lstStyle/>
            <a:p>
              <a:endParaRPr/>
            </a:p>
          </p:txBody>
        </p:sp>
        <p:pic>
          <p:nvPicPr>
            <p:cNvPr id="24" name="object 29">
              <a:extLst>
                <a:ext uri="{FF2B5EF4-FFF2-40B4-BE49-F238E27FC236}">
                  <a16:creationId xmlns:a16="http://schemas.microsoft.com/office/drawing/2014/main" id="{A9D64378-BAED-CD03-A424-55A2C0CB00EC}"/>
                </a:ext>
              </a:extLst>
            </p:cNvPr>
            <p:cNvPicPr/>
            <p:nvPr/>
          </p:nvPicPr>
          <p:blipFill>
            <a:blip r:embed="rId6" cstate="print"/>
            <a:stretch>
              <a:fillRect/>
            </a:stretch>
          </p:blipFill>
          <p:spPr>
            <a:xfrm>
              <a:off x="1884211" y="1852160"/>
              <a:ext cx="67013" cy="67034"/>
            </a:xfrm>
            <a:prstGeom prst="rect">
              <a:avLst/>
            </a:prstGeom>
          </p:spPr>
        </p:pic>
        <p:pic>
          <p:nvPicPr>
            <p:cNvPr id="25" name="object 30">
              <a:extLst>
                <a:ext uri="{FF2B5EF4-FFF2-40B4-BE49-F238E27FC236}">
                  <a16:creationId xmlns:a16="http://schemas.microsoft.com/office/drawing/2014/main" id="{2ACDE693-3B4C-488A-0B07-22F39EABA548}"/>
                </a:ext>
              </a:extLst>
            </p:cNvPr>
            <p:cNvPicPr/>
            <p:nvPr/>
          </p:nvPicPr>
          <p:blipFill>
            <a:blip r:embed="rId6" cstate="print"/>
            <a:stretch>
              <a:fillRect/>
            </a:stretch>
          </p:blipFill>
          <p:spPr>
            <a:xfrm>
              <a:off x="1884211" y="1973925"/>
              <a:ext cx="67013" cy="67034"/>
            </a:xfrm>
            <a:prstGeom prst="rect">
              <a:avLst/>
            </a:prstGeom>
          </p:spPr>
        </p:pic>
        <p:pic>
          <p:nvPicPr>
            <p:cNvPr id="26" name="object 31">
              <a:extLst>
                <a:ext uri="{FF2B5EF4-FFF2-40B4-BE49-F238E27FC236}">
                  <a16:creationId xmlns:a16="http://schemas.microsoft.com/office/drawing/2014/main" id="{F9E0728B-8610-7273-A503-B4458530CA89}"/>
                </a:ext>
              </a:extLst>
            </p:cNvPr>
            <p:cNvPicPr/>
            <p:nvPr/>
          </p:nvPicPr>
          <p:blipFill>
            <a:blip r:embed="rId6" cstate="print"/>
            <a:stretch>
              <a:fillRect/>
            </a:stretch>
          </p:blipFill>
          <p:spPr>
            <a:xfrm>
              <a:off x="1884211" y="2095684"/>
              <a:ext cx="67013" cy="67034"/>
            </a:xfrm>
            <a:prstGeom prst="rect">
              <a:avLst/>
            </a:prstGeom>
          </p:spPr>
        </p:pic>
        <p:sp>
          <p:nvSpPr>
            <p:cNvPr id="27" name="object 32">
              <a:extLst>
                <a:ext uri="{FF2B5EF4-FFF2-40B4-BE49-F238E27FC236}">
                  <a16:creationId xmlns:a16="http://schemas.microsoft.com/office/drawing/2014/main" id="{503777CB-EC9B-257F-52C4-0C73D8328B37}"/>
                </a:ext>
              </a:extLst>
            </p:cNvPr>
            <p:cNvSpPr/>
            <p:nvPr/>
          </p:nvSpPr>
          <p:spPr>
            <a:xfrm>
              <a:off x="1609204" y="1664642"/>
              <a:ext cx="501015" cy="685800"/>
            </a:xfrm>
            <a:custGeom>
              <a:avLst/>
              <a:gdLst/>
              <a:ahLst/>
              <a:cxnLst/>
              <a:rect l="l" t="t" r="r" b="b"/>
              <a:pathLst>
                <a:path w="501014" h="685800">
                  <a:moveTo>
                    <a:pt x="500874" y="0"/>
                  </a:moveTo>
                  <a:lnTo>
                    <a:pt x="119179" y="0"/>
                  </a:lnTo>
                  <a:lnTo>
                    <a:pt x="119179" y="132226"/>
                  </a:lnTo>
                  <a:lnTo>
                    <a:pt x="0" y="202444"/>
                  </a:lnTo>
                  <a:lnTo>
                    <a:pt x="116729" y="252777"/>
                  </a:lnTo>
                  <a:lnTo>
                    <a:pt x="116729" y="685591"/>
                  </a:lnTo>
                  <a:lnTo>
                    <a:pt x="500874" y="685591"/>
                  </a:lnTo>
                  <a:lnTo>
                    <a:pt x="500874" y="498079"/>
                  </a:lnTo>
                  <a:lnTo>
                    <a:pt x="308503" y="498079"/>
                  </a:lnTo>
                  <a:lnTo>
                    <a:pt x="295464" y="495443"/>
                  </a:lnTo>
                  <a:lnTo>
                    <a:pt x="284817" y="488258"/>
                  </a:lnTo>
                  <a:lnTo>
                    <a:pt x="277639" y="477604"/>
                  </a:lnTo>
                  <a:lnTo>
                    <a:pt x="275007" y="464561"/>
                  </a:lnTo>
                  <a:lnTo>
                    <a:pt x="277639" y="451519"/>
                  </a:lnTo>
                  <a:lnTo>
                    <a:pt x="284817" y="440864"/>
                  </a:lnTo>
                  <a:lnTo>
                    <a:pt x="295464" y="433679"/>
                  </a:lnTo>
                  <a:lnTo>
                    <a:pt x="308503" y="431044"/>
                  </a:lnTo>
                  <a:lnTo>
                    <a:pt x="500874" y="431044"/>
                  </a:lnTo>
                  <a:lnTo>
                    <a:pt x="500874" y="376313"/>
                  </a:lnTo>
                  <a:lnTo>
                    <a:pt x="308503" y="376313"/>
                  </a:lnTo>
                  <a:lnTo>
                    <a:pt x="295464" y="373677"/>
                  </a:lnTo>
                  <a:lnTo>
                    <a:pt x="284817" y="366492"/>
                  </a:lnTo>
                  <a:lnTo>
                    <a:pt x="277639" y="355838"/>
                  </a:lnTo>
                  <a:lnTo>
                    <a:pt x="275007" y="342795"/>
                  </a:lnTo>
                  <a:lnTo>
                    <a:pt x="277639" y="329753"/>
                  </a:lnTo>
                  <a:lnTo>
                    <a:pt x="284817" y="319098"/>
                  </a:lnTo>
                  <a:lnTo>
                    <a:pt x="295464" y="311913"/>
                  </a:lnTo>
                  <a:lnTo>
                    <a:pt x="308503" y="309278"/>
                  </a:lnTo>
                  <a:lnTo>
                    <a:pt x="500874" y="309278"/>
                  </a:lnTo>
                  <a:lnTo>
                    <a:pt x="500874" y="254557"/>
                  </a:lnTo>
                  <a:lnTo>
                    <a:pt x="308503" y="254557"/>
                  </a:lnTo>
                  <a:lnTo>
                    <a:pt x="275007" y="221040"/>
                  </a:lnTo>
                  <a:lnTo>
                    <a:pt x="277639" y="207993"/>
                  </a:lnTo>
                  <a:lnTo>
                    <a:pt x="284817" y="197339"/>
                  </a:lnTo>
                  <a:lnTo>
                    <a:pt x="295464" y="190156"/>
                  </a:lnTo>
                  <a:lnTo>
                    <a:pt x="308503" y="187523"/>
                  </a:lnTo>
                  <a:lnTo>
                    <a:pt x="500874" y="187523"/>
                  </a:lnTo>
                  <a:lnTo>
                    <a:pt x="500874" y="0"/>
                  </a:lnTo>
                  <a:close/>
                </a:path>
                <a:path w="501014" h="685800">
                  <a:moveTo>
                    <a:pt x="500874" y="431044"/>
                  </a:moveTo>
                  <a:lnTo>
                    <a:pt x="308503" y="431044"/>
                  </a:lnTo>
                  <a:lnTo>
                    <a:pt x="321555" y="433679"/>
                  </a:lnTo>
                  <a:lnTo>
                    <a:pt x="332208" y="440864"/>
                  </a:lnTo>
                  <a:lnTo>
                    <a:pt x="339388" y="451519"/>
                  </a:lnTo>
                  <a:lnTo>
                    <a:pt x="342020" y="464561"/>
                  </a:lnTo>
                  <a:lnTo>
                    <a:pt x="339388" y="477604"/>
                  </a:lnTo>
                  <a:lnTo>
                    <a:pt x="332208" y="488258"/>
                  </a:lnTo>
                  <a:lnTo>
                    <a:pt x="321555" y="495443"/>
                  </a:lnTo>
                  <a:lnTo>
                    <a:pt x="308503" y="498079"/>
                  </a:lnTo>
                  <a:lnTo>
                    <a:pt x="500874" y="498079"/>
                  </a:lnTo>
                  <a:lnTo>
                    <a:pt x="500874" y="431044"/>
                  </a:lnTo>
                  <a:close/>
                </a:path>
                <a:path w="501014" h="685800">
                  <a:moveTo>
                    <a:pt x="500874" y="309278"/>
                  </a:moveTo>
                  <a:lnTo>
                    <a:pt x="308503" y="309278"/>
                  </a:lnTo>
                  <a:lnTo>
                    <a:pt x="321555" y="311913"/>
                  </a:lnTo>
                  <a:lnTo>
                    <a:pt x="332208" y="319098"/>
                  </a:lnTo>
                  <a:lnTo>
                    <a:pt x="339388" y="329753"/>
                  </a:lnTo>
                  <a:lnTo>
                    <a:pt x="342020" y="342795"/>
                  </a:lnTo>
                  <a:lnTo>
                    <a:pt x="339388" y="355838"/>
                  </a:lnTo>
                  <a:lnTo>
                    <a:pt x="332208" y="366492"/>
                  </a:lnTo>
                  <a:lnTo>
                    <a:pt x="321555" y="373677"/>
                  </a:lnTo>
                  <a:lnTo>
                    <a:pt x="308503" y="376313"/>
                  </a:lnTo>
                  <a:lnTo>
                    <a:pt x="500874" y="376313"/>
                  </a:lnTo>
                  <a:lnTo>
                    <a:pt x="500874" y="309278"/>
                  </a:lnTo>
                  <a:close/>
                </a:path>
                <a:path w="501014" h="685800">
                  <a:moveTo>
                    <a:pt x="500874" y="187523"/>
                  </a:moveTo>
                  <a:lnTo>
                    <a:pt x="308503" y="187523"/>
                  </a:lnTo>
                  <a:lnTo>
                    <a:pt x="321555" y="190156"/>
                  </a:lnTo>
                  <a:lnTo>
                    <a:pt x="332208" y="197339"/>
                  </a:lnTo>
                  <a:lnTo>
                    <a:pt x="339388" y="207993"/>
                  </a:lnTo>
                  <a:lnTo>
                    <a:pt x="342020" y="221040"/>
                  </a:lnTo>
                  <a:lnTo>
                    <a:pt x="339388" y="234083"/>
                  </a:lnTo>
                  <a:lnTo>
                    <a:pt x="332208" y="244737"/>
                  </a:lnTo>
                  <a:lnTo>
                    <a:pt x="321555" y="251922"/>
                  </a:lnTo>
                  <a:lnTo>
                    <a:pt x="308503" y="254557"/>
                  </a:lnTo>
                  <a:lnTo>
                    <a:pt x="500874" y="254557"/>
                  </a:lnTo>
                  <a:lnTo>
                    <a:pt x="500874" y="187523"/>
                  </a:lnTo>
                  <a:close/>
                </a:path>
              </a:pathLst>
            </a:custGeom>
            <a:solidFill>
              <a:srgbClr val="ECCC4A"/>
            </a:solidFill>
          </p:spPr>
          <p:txBody>
            <a:bodyPr wrap="square" lIns="0" tIns="0" rIns="0" bIns="0" rtlCol="0"/>
            <a:lstStyle/>
            <a:p>
              <a:endParaRPr/>
            </a:p>
          </p:txBody>
        </p:sp>
      </p:grpSp>
      <p:sp>
        <p:nvSpPr>
          <p:cNvPr id="28" name="object 33">
            <a:extLst>
              <a:ext uri="{FF2B5EF4-FFF2-40B4-BE49-F238E27FC236}">
                <a16:creationId xmlns:a16="http://schemas.microsoft.com/office/drawing/2014/main" id="{8BE8AD08-E518-4466-65A4-7AE6602B4448}"/>
              </a:ext>
            </a:extLst>
          </p:cNvPr>
          <p:cNvSpPr/>
          <p:nvPr userDrawn="1"/>
        </p:nvSpPr>
        <p:spPr>
          <a:xfrm>
            <a:off x="2408390" y="1486007"/>
            <a:ext cx="594995" cy="349250"/>
          </a:xfrm>
          <a:custGeom>
            <a:avLst/>
            <a:gdLst/>
            <a:ahLst/>
            <a:cxnLst/>
            <a:rect l="l" t="t" r="r" b="b"/>
            <a:pathLst>
              <a:path w="594994" h="349250">
                <a:moveTo>
                  <a:pt x="275983" y="0"/>
                </a:moveTo>
                <a:lnTo>
                  <a:pt x="187426" y="0"/>
                </a:lnTo>
                <a:lnTo>
                  <a:pt x="187426" y="225310"/>
                </a:lnTo>
                <a:lnTo>
                  <a:pt x="184099" y="244017"/>
                </a:lnTo>
                <a:lnTo>
                  <a:pt x="174510" y="260235"/>
                </a:lnTo>
                <a:lnTo>
                  <a:pt x="159194" y="271653"/>
                </a:lnTo>
                <a:lnTo>
                  <a:pt x="138722" y="275971"/>
                </a:lnTo>
                <a:lnTo>
                  <a:pt x="119697" y="272453"/>
                </a:lnTo>
                <a:lnTo>
                  <a:pt x="104228" y="262140"/>
                </a:lnTo>
                <a:lnTo>
                  <a:pt x="93827" y="245465"/>
                </a:lnTo>
                <a:lnTo>
                  <a:pt x="90030" y="222846"/>
                </a:lnTo>
                <a:lnTo>
                  <a:pt x="93827" y="200152"/>
                </a:lnTo>
                <a:lnTo>
                  <a:pt x="104228" y="183311"/>
                </a:lnTo>
                <a:lnTo>
                  <a:pt x="119697" y="172834"/>
                </a:lnTo>
                <a:lnTo>
                  <a:pt x="138722" y="169227"/>
                </a:lnTo>
                <a:lnTo>
                  <a:pt x="159829" y="173837"/>
                </a:lnTo>
                <a:lnTo>
                  <a:pt x="175069" y="186194"/>
                </a:lnTo>
                <a:lnTo>
                  <a:pt x="184315" y="204101"/>
                </a:lnTo>
                <a:lnTo>
                  <a:pt x="187426" y="225310"/>
                </a:lnTo>
                <a:lnTo>
                  <a:pt x="187426" y="0"/>
                </a:lnTo>
                <a:lnTo>
                  <a:pt x="185458" y="0"/>
                </a:lnTo>
                <a:lnTo>
                  <a:pt x="185458" y="122008"/>
                </a:lnTo>
                <a:lnTo>
                  <a:pt x="173685" y="111074"/>
                </a:lnTo>
                <a:lnTo>
                  <a:pt x="158419" y="102870"/>
                </a:lnTo>
                <a:lnTo>
                  <a:pt x="139814" y="97713"/>
                </a:lnTo>
                <a:lnTo>
                  <a:pt x="118071" y="95923"/>
                </a:lnTo>
                <a:lnTo>
                  <a:pt x="69735" y="105308"/>
                </a:lnTo>
                <a:lnTo>
                  <a:pt x="32473" y="131533"/>
                </a:lnTo>
                <a:lnTo>
                  <a:pt x="8483" y="171678"/>
                </a:lnTo>
                <a:lnTo>
                  <a:pt x="0" y="222846"/>
                </a:lnTo>
                <a:lnTo>
                  <a:pt x="7340" y="274281"/>
                </a:lnTo>
                <a:lnTo>
                  <a:pt x="28841" y="312940"/>
                </a:lnTo>
                <a:lnTo>
                  <a:pt x="63715" y="338035"/>
                </a:lnTo>
                <a:lnTo>
                  <a:pt x="111188" y="348780"/>
                </a:lnTo>
                <a:lnTo>
                  <a:pt x="132219" y="347967"/>
                </a:lnTo>
                <a:lnTo>
                  <a:pt x="153670" y="342950"/>
                </a:lnTo>
                <a:lnTo>
                  <a:pt x="173926" y="333222"/>
                </a:lnTo>
                <a:lnTo>
                  <a:pt x="191376" y="318287"/>
                </a:lnTo>
                <a:lnTo>
                  <a:pt x="195313" y="344360"/>
                </a:lnTo>
                <a:lnTo>
                  <a:pt x="275983" y="344360"/>
                </a:lnTo>
                <a:lnTo>
                  <a:pt x="275983" y="318287"/>
                </a:lnTo>
                <a:lnTo>
                  <a:pt x="275983" y="275971"/>
                </a:lnTo>
                <a:lnTo>
                  <a:pt x="275983" y="169227"/>
                </a:lnTo>
                <a:lnTo>
                  <a:pt x="275983" y="122008"/>
                </a:lnTo>
                <a:lnTo>
                  <a:pt x="275983" y="0"/>
                </a:lnTo>
                <a:close/>
              </a:path>
              <a:path w="594994" h="349250">
                <a:moveTo>
                  <a:pt x="594804" y="101346"/>
                </a:moveTo>
                <a:lnTo>
                  <a:pt x="509714" y="101346"/>
                </a:lnTo>
                <a:lnTo>
                  <a:pt x="505269" y="127419"/>
                </a:lnTo>
                <a:lnTo>
                  <a:pt x="504774" y="126860"/>
                </a:lnTo>
                <a:lnTo>
                  <a:pt x="504774" y="222846"/>
                </a:lnTo>
                <a:lnTo>
                  <a:pt x="501230" y="243179"/>
                </a:lnTo>
                <a:lnTo>
                  <a:pt x="491121" y="260108"/>
                </a:lnTo>
                <a:lnTo>
                  <a:pt x="475310" y="271691"/>
                </a:lnTo>
                <a:lnTo>
                  <a:pt x="454596" y="275971"/>
                </a:lnTo>
                <a:lnTo>
                  <a:pt x="435571" y="272453"/>
                </a:lnTo>
                <a:lnTo>
                  <a:pt x="420103" y="262140"/>
                </a:lnTo>
                <a:lnTo>
                  <a:pt x="409702" y="245465"/>
                </a:lnTo>
                <a:lnTo>
                  <a:pt x="405904" y="222846"/>
                </a:lnTo>
                <a:lnTo>
                  <a:pt x="409702" y="200152"/>
                </a:lnTo>
                <a:lnTo>
                  <a:pt x="454596" y="169227"/>
                </a:lnTo>
                <a:lnTo>
                  <a:pt x="491680" y="183857"/>
                </a:lnTo>
                <a:lnTo>
                  <a:pt x="504774" y="222846"/>
                </a:lnTo>
                <a:lnTo>
                  <a:pt x="504774" y="126860"/>
                </a:lnTo>
                <a:lnTo>
                  <a:pt x="493572" y="114185"/>
                </a:lnTo>
                <a:lnTo>
                  <a:pt x="477723" y="104292"/>
                </a:lnTo>
                <a:lnTo>
                  <a:pt x="457822" y="98082"/>
                </a:lnTo>
                <a:lnTo>
                  <a:pt x="433959" y="95923"/>
                </a:lnTo>
                <a:lnTo>
                  <a:pt x="385610" y="105664"/>
                </a:lnTo>
                <a:lnTo>
                  <a:pt x="348348" y="132461"/>
                </a:lnTo>
                <a:lnTo>
                  <a:pt x="324358" y="172720"/>
                </a:lnTo>
                <a:lnTo>
                  <a:pt x="315874" y="222846"/>
                </a:lnTo>
                <a:lnTo>
                  <a:pt x="323215" y="271792"/>
                </a:lnTo>
                <a:lnTo>
                  <a:pt x="344716" y="310718"/>
                </a:lnTo>
                <a:lnTo>
                  <a:pt x="379590" y="337197"/>
                </a:lnTo>
                <a:lnTo>
                  <a:pt x="427062" y="348780"/>
                </a:lnTo>
                <a:lnTo>
                  <a:pt x="448094" y="347967"/>
                </a:lnTo>
                <a:lnTo>
                  <a:pt x="469557" y="342950"/>
                </a:lnTo>
                <a:lnTo>
                  <a:pt x="489813" y="333222"/>
                </a:lnTo>
                <a:lnTo>
                  <a:pt x="507250" y="318287"/>
                </a:lnTo>
                <a:lnTo>
                  <a:pt x="511187" y="344360"/>
                </a:lnTo>
                <a:lnTo>
                  <a:pt x="594804" y="344360"/>
                </a:lnTo>
                <a:lnTo>
                  <a:pt x="594804" y="318287"/>
                </a:lnTo>
                <a:lnTo>
                  <a:pt x="594804" y="275971"/>
                </a:lnTo>
                <a:lnTo>
                  <a:pt x="594804" y="169227"/>
                </a:lnTo>
                <a:lnTo>
                  <a:pt x="594804" y="127419"/>
                </a:lnTo>
                <a:lnTo>
                  <a:pt x="594804" y="101346"/>
                </a:lnTo>
                <a:close/>
              </a:path>
            </a:pathLst>
          </a:custGeom>
          <a:solidFill>
            <a:srgbClr val="16151B"/>
          </a:solidFill>
        </p:spPr>
        <p:txBody>
          <a:bodyPr wrap="square" lIns="0" tIns="0" rIns="0" bIns="0" rtlCol="0"/>
          <a:lstStyle/>
          <a:p>
            <a:endParaRPr/>
          </a:p>
        </p:txBody>
      </p:sp>
      <p:sp>
        <p:nvSpPr>
          <p:cNvPr id="29" name="object 34">
            <a:extLst>
              <a:ext uri="{FF2B5EF4-FFF2-40B4-BE49-F238E27FC236}">
                <a16:creationId xmlns:a16="http://schemas.microsoft.com/office/drawing/2014/main" id="{09C74D34-34DA-A54A-B2F3-CF10327C12A1}"/>
              </a:ext>
            </a:extLst>
          </p:cNvPr>
          <p:cNvSpPr/>
          <p:nvPr userDrawn="1"/>
        </p:nvSpPr>
        <p:spPr>
          <a:xfrm>
            <a:off x="3056382" y="1581930"/>
            <a:ext cx="699770" cy="253365"/>
          </a:xfrm>
          <a:custGeom>
            <a:avLst/>
            <a:gdLst/>
            <a:ahLst/>
            <a:cxnLst/>
            <a:rect l="l" t="t" r="r" b="b"/>
            <a:pathLst>
              <a:path w="699770" h="253364">
                <a:moveTo>
                  <a:pt x="383705" y="113157"/>
                </a:moveTo>
                <a:lnTo>
                  <a:pt x="376580" y="61442"/>
                </a:lnTo>
                <a:lnTo>
                  <a:pt x="356958" y="26327"/>
                </a:lnTo>
                <a:lnTo>
                  <a:pt x="327469" y="6337"/>
                </a:lnTo>
                <a:lnTo>
                  <a:pt x="290728" y="0"/>
                </a:lnTo>
                <a:lnTo>
                  <a:pt x="266852" y="1930"/>
                </a:lnTo>
                <a:lnTo>
                  <a:pt x="245414" y="8051"/>
                </a:lnTo>
                <a:lnTo>
                  <a:pt x="226466" y="18884"/>
                </a:lnTo>
                <a:lnTo>
                  <a:pt x="210058" y="34937"/>
                </a:lnTo>
                <a:lnTo>
                  <a:pt x="198869" y="20078"/>
                </a:lnTo>
                <a:lnTo>
                  <a:pt x="184404" y="9410"/>
                </a:lnTo>
                <a:lnTo>
                  <a:pt x="167640" y="2895"/>
                </a:lnTo>
                <a:lnTo>
                  <a:pt x="149542" y="495"/>
                </a:lnTo>
                <a:lnTo>
                  <a:pt x="130644" y="2159"/>
                </a:lnTo>
                <a:lnTo>
                  <a:pt x="112407" y="7874"/>
                </a:lnTo>
                <a:lnTo>
                  <a:pt x="95999" y="17653"/>
                </a:lnTo>
                <a:lnTo>
                  <a:pt x="82638" y="31496"/>
                </a:lnTo>
                <a:lnTo>
                  <a:pt x="76250" y="5422"/>
                </a:lnTo>
                <a:lnTo>
                  <a:pt x="0" y="5422"/>
                </a:lnTo>
                <a:lnTo>
                  <a:pt x="0" y="248437"/>
                </a:lnTo>
                <a:lnTo>
                  <a:pt x="90017" y="248437"/>
                </a:lnTo>
                <a:lnTo>
                  <a:pt x="90017" y="115125"/>
                </a:lnTo>
                <a:lnTo>
                  <a:pt x="93078" y="97840"/>
                </a:lnTo>
                <a:lnTo>
                  <a:pt x="100482" y="85725"/>
                </a:lnTo>
                <a:lnTo>
                  <a:pt x="110642" y="78600"/>
                </a:lnTo>
                <a:lnTo>
                  <a:pt x="121996" y="76263"/>
                </a:lnTo>
                <a:lnTo>
                  <a:pt x="132842" y="78155"/>
                </a:lnTo>
                <a:lnTo>
                  <a:pt x="140881" y="84442"/>
                </a:lnTo>
                <a:lnTo>
                  <a:pt x="145872" y="95973"/>
                </a:lnTo>
                <a:lnTo>
                  <a:pt x="147586" y="113639"/>
                </a:lnTo>
                <a:lnTo>
                  <a:pt x="147586" y="248437"/>
                </a:lnTo>
                <a:lnTo>
                  <a:pt x="236613" y="248437"/>
                </a:lnTo>
                <a:lnTo>
                  <a:pt x="236613" y="114630"/>
                </a:lnTo>
                <a:lnTo>
                  <a:pt x="239395" y="97663"/>
                </a:lnTo>
                <a:lnTo>
                  <a:pt x="246646" y="86220"/>
                </a:lnTo>
                <a:lnTo>
                  <a:pt x="256755" y="79768"/>
                </a:lnTo>
                <a:lnTo>
                  <a:pt x="268097" y="77736"/>
                </a:lnTo>
                <a:lnTo>
                  <a:pt x="277622" y="79756"/>
                </a:lnTo>
                <a:lnTo>
                  <a:pt x="285623" y="86093"/>
                </a:lnTo>
                <a:lnTo>
                  <a:pt x="291134" y="97243"/>
                </a:lnTo>
                <a:lnTo>
                  <a:pt x="293179" y="113639"/>
                </a:lnTo>
                <a:lnTo>
                  <a:pt x="293179" y="248437"/>
                </a:lnTo>
                <a:lnTo>
                  <a:pt x="383705" y="248437"/>
                </a:lnTo>
                <a:lnTo>
                  <a:pt x="383705" y="113157"/>
                </a:lnTo>
                <a:close/>
              </a:path>
              <a:path w="699770" h="253364">
                <a:moveTo>
                  <a:pt x="699592" y="5422"/>
                </a:moveTo>
                <a:lnTo>
                  <a:pt x="614489" y="5422"/>
                </a:lnTo>
                <a:lnTo>
                  <a:pt x="610057" y="31496"/>
                </a:lnTo>
                <a:lnTo>
                  <a:pt x="609561" y="30937"/>
                </a:lnTo>
                <a:lnTo>
                  <a:pt x="609561" y="126923"/>
                </a:lnTo>
                <a:lnTo>
                  <a:pt x="606018" y="147256"/>
                </a:lnTo>
                <a:lnTo>
                  <a:pt x="595909" y="164185"/>
                </a:lnTo>
                <a:lnTo>
                  <a:pt x="580085" y="175768"/>
                </a:lnTo>
                <a:lnTo>
                  <a:pt x="559384" y="180047"/>
                </a:lnTo>
                <a:lnTo>
                  <a:pt x="540359" y="176530"/>
                </a:lnTo>
                <a:lnTo>
                  <a:pt x="524891" y="166217"/>
                </a:lnTo>
                <a:lnTo>
                  <a:pt x="514489" y="149542"/>
                </a:lnTo>
                <a:lnTo>
                  <a:pt x="510692" y="126923"/>
                </a:lnTo>
                <a:lnTo>
                  <a:pt x="514489" y="104228"/>
                </a:lnTo>
                <a:lnTo>
                  <a:pt x="559384" y="73304"/>
                </a:lnTo>
                <a:lnTo>
                  <a:pt x="596468" y="87934"/>
                </a:lnTo>
                <a:lnTo>
                  <a:pt x="609561" y="126923"/>
                </a:lnTo>
                <a:lnTo>
                  <a:pt x="609561" y="30937"/>
                </a:lnTo>
                <a:lnTo>
                  <a:pt x="598360" y="18262"/>
                </a:lnTo>
                <a:lnTo>
                  <a:pt x="582510" y="8369"/>
                </a:lnTo>
                <a:lnTo>
                  <a:pt x="562610" y="2159"/>
                </a:lnTo>
                <a:lnTo>
                  <a:pt x="538734" y="0"/>
                </a:lnTo>
                <a:lnTo>
                  <a:pt x="490397" y="9740"/>
                </a:lnTo>
                <a:lnTo>
                  <a:pt x="453136" y="36537"/>
                </a:lnTo>
                <a:lnTo>
                  <a:pt x="429145" y="76796"/>
                </a:lnTo>
                <a:lnTo>
                  <a:pt x="420662" y="126923"/>
                </a:lnTo>
                <a:lnTo>
                  <a:pt x="428002" y="175869"/>
                </a:lnTo>
                <a:lnTo>
                  <a:pt x="449503" y="214795"/>
                </a:lnTo>
                <a:lnTo>
                  <a:pt x="484378" y="241274"/>
                </a:lnTo>
                <a:lnTo>
                  <a:pt x="531850" y="252857"/>
                </a:lnTo>
                <a:lnTo>
                  <a:pt x="552881" y="252044"/>
                </a:lnTo>
                <a:lnTo>
                  <a:pt x="574332" y="247027"/>
                </a:lnTo>
                <a:lnTo>
                  <a:pt x="594588" y="237299"/>
                </a:lnTo>
                <a:lnTo>
                  <a:pt x="612038" y="222364"/>
                </a:lnTo>
                <a:lnTo>
                  <a:pt x="615975" y="248437"/>
                </a:lnTo>
                <a:lnTo>
                  <a:pt x="699592" y="248437"/>
                </a:lnTo>
                <a:lnTo>
                  <a:pt x="699592" y="222364"/>
                </a:lnTo>
                <a:lnTo>
                  <a:pt x="699592" y="180047"/>
                </a:lnTo>
                <a:lnTo>
                  <a:pt x="699592" y="73304"/>
                </a:lnTo>
                <a:lnTo>
                  <a:pt x="699592" y="31496"/>
                </a:lnTo>
                <a:lnTo>
                  <a:pt x="699592" y="5422"/>
                </a:lnTo>
                <a:close/>
              </a:path>
            </a:pathLst>
          </a:custGeom>
          <a:solidFill>
            <a:srgbClr val="16151B"/>
          </a:solidFill>
        </p:spPr>
        <p:txBody>
          <a:bodyPr wrap="square" lIns="0" tIns="0" rIns="0" bIns="0" rtlCol="0"/>
          <a:lstStyle/>
          <a:p>
            <a:endParaRPr/>
          </a:p>
        </p:txBody>
      </p:sp>
      <p:grpSp>
        <p:nvGrpSpPr>
          <p:cNvPr id="30" name="object 35">
            <a:extLst>
              <a:ext uri="{FF2B5EF4-FFF2-40B4-BE49-F238E27FC236}">
                <a16:creationId xmlns:a16="http://schemas.microsoft.com/office/drawing/2014/main" id="{1A2B4B14-6C8D-1170-25D4-32C1C649042A}"/>
              </a:ext>
            </a:extLst>
          </p:cNvPr>
          <p:cNvGrpSpPr/>
          <p:nvPr userDrawn="1"/>
        </p:nvGrpSpPr>
        <p:grpSpPr>
          <a:xfrm>
            <a:off x="2408394" y="1917302"/>
            <a:ext cx="1346835" cy="229235"/>
            <a:chOff x="2408394" y="1917302"/>
            <a:chExt cx="1346835" cy="229235"/>
          </a:xfrm>
        </p:grpSpPr>
        <p:pic>
          <p:nvPicPr>
            <p:cNvPr id="31" name="object 36">
              <a:extLst>
                <a:ext uri="{FF2B5EF4-FFF2-40B4-BE49-F238E27FC236}">
                  <a16:creationId xmlns:a16="http://schemas.microsoft.com/office/drawing/2014/main" id="{8CF598CC-9466-91CC-2695-85512DF65034}"/>
                </a:ext>
              </a:extLst>
            </p:cNvPr>
            <p:cNvPicPr/>
            <p:nvPr/>
          </p:nvPicPr>
          <p:blipFill>
            <a:blip r:embed="rId7" cstate="print"/>
            <a:stretch>
              <a:fillRect/>
            </a:stretch>
          </p:blipFill>
          <p:spPr>
            <a:xfrm>
              <a:off x="2408394" y="1980530"/>
              <a:ext cx="182884" cy="165795"/>
            </a:xfrm>
            <a:prstGeom prst="rect">
              <a:avLst/>
            </a:prstGeom>
          </p:spPr>
        </p:pic>
        <p:sp>
          <p:nvSpPr>
            <p:cNvPr id="32" name="object 37">
              <a:extLst>
                <a:ext uri="{FF2B5EF4-FFF2-40B4-BE49-F238E27FC236}">
                  <a16:creationId xmlns:a16="http://schemas.microsoft.com/office/drawing/2014/main" id="{6AD30DB0-FEC6-0714-60F0-6C64DE72EB9F}"/>
                </a:ext>
              </a:extLst>
            </p:cNvPr>
            <p:cNvSpPr/>
            <p:nvPr/>
          </p:nvSpPr>
          <p:spPr>
            <a:xfrm>
              <a:off x="2626144" y="1917312"/>
              <a:ext cx="223520" cy="226695"/>
            </a:xfrm>
            <a:custGeom>
              <a:avLst/>
              <a:gdLst/>
              <a:ahLst/>
              <a:cxnLst/>
              <a:rect l="l" t="t" r="r" b="b"/>
              <a:pathLst>
                <a:path w="223519" h="226694">
                  <a:moveTo>
                    <a:pt x="58712" y="0"/>
                  </a:moveTo>
                  <a:lnTo>
                    <a:pt x="0" y="0"/>
                  </a:lnTo>
                  <a:lnTo>
                    <a:pt x="0" y="226110"/>
                  </a:lnTo>
                  <a:lnTo>
                    <a:pt x="58712" y="226110"/>
                  </a:lnTo>
                  <a:lnTo>
                    <a:pt x="58712" y="0"/>
                  </a:lnTo>
                  <a:close/>
                </a:path>
                <a:path w="223519" h="226694">
                  <a:moveTo>
                    <a:pt x="223240" y="109029"/>
                  </a:moveTo>
                  <a:lnTo>
                    <a:pt x="93560" y="109029"/>
                  </a:lnTo>
                  <a:lnTo>
                    <a:pt x="93560" y="156133"/>
                  </a:lnTo>
                  <a:lnTo>
                    <a:pt x="223240" y="156133"/>
                  </a:lnTo>
                  <a:lnTo>
                    <a:pt x="223240" y="109029"/>
                  </a:lnTo>
                  <a:close/>
                </a:path>
              </a:pathLst>
            </a:custGeom>
            <a:solidFill>
              <a:srgbClr val="16151B"/>
            </a:solidFill>
          </p:spPr>
          <p:txBody>
            <a:bodyPr wrap="square" lIns="0" tIns="0" rIns="0" bIns="0" rtlCol="0"/>
            <a:lstStyle/>
            <a:p>
              <a:endParaRPr/>
            </a:p>
          </p:txBody>
        </p:sp>
        <p:pic>
          <p:nvPicPr>
            <p:cNvPr id="33" name="object 38">
              <a:extLst>
                <a:ext uri="{FF2B5EF4-FFF2-40B4-BE49-F238E27FC236}">
                  <a16:creationId xmlns:a16="http://schemas.microsoft.com/office/drawing/2014/main" id="{C69D2E11-ACBB-3FC5-4883-511756B6AEF7}"/>
                </a:ext>
              </a:extLst>
            </p:cNvPr>
            <p:cNvPicPr/>
            <p:nvPr/>
          </p:nvPicPr>
          <p:blipFill>
            <a:blip r:embed="rId8" cstate="print"/>
            <a:stretch>
              <a:fillRect/>
            </a:stretch>
          </p:blipFill>
          <p:spPr>
            <a:xfrm>
              <a:off x="2875544" y="1980530"/>
              <a:ext cx="182894" cy="165795"/>
            </a:xfrm>
            <a:prstGeom prst="rect">
              <a:avLst/>
            </a:prstGeom>
          </p:spPr>
        </p:pic>
        <p:pic>
          <p:nvPicPr>
            <p:cNvPr id="34" name="object 39">
              <a:extLst>
                <a:ext uri="{FF2B5EF4-FFF2-40B4-BE49-F238E27FC236}">
                  <a16:creationId xmlns:a16="http://schemas.microsoft.com/office/drawing/2014/main" id="{B3A4E609-FE7A-149F-FE13-03711F17F19E}"/>
                </a:ext>
              </a:extLst>
            </p:cNvPr>
            <p:cNvPicPr/>
            <p:nvPr/>
          </p:nvPicPr>
          <p:blipFill>
            <a:blip r:embed="rId9" cstate="print"/>
            <a:stretch>
              <a:fillRect/>
            </a:stretch>
          </p:blipFill>
          <p:spPr>
            <a:xfrm>
              <a:off x="3093312" y="1980528"/>
              <a:ext cx="251604" cy="162895"/>
            </a:xfrm>
            <a:prstGeom prst="rect">
              <a:avLst/>
            </a:prstGeom>
          </p:spPr>
        </p:pic>
        <p:pic>
          <p:nvPicPr>
            <p:cNvPr id="35" name="object 40">
              <a:extLst>
                <a:ext uri="{FF2B5EF4-FFF2-40B4-BE49-F238E27FC236}">
                  <a16:creationId xmlns:a16="http://schemas.microsoft.com/office/drawing/2014/main" id="{452259D0-F4B5-8806-FA43-3533A2A78F42}"/>
                </a:ext>
              </a:extLst>
            </p:cNvPr>
            <p:cNvPicPr/>
            <p:nvPr/>
          </p:nvPicPr>
          <p:blipFill>
            <a:blip r:embed="rId10" cstate="print"/>
            <a:stretch>
              <a:fillRect/>
            </a:stretch>
          </p:blipFill>
          <p:spPr>
            <a:xfrm>
              <a:off x="3369159" y="1980530"/>
              <a:ext cx="182894" cy="165795"/>
            </a:xfrm>
            <a:prstGeom prst="rect">
              <a:avLst/>
            </a:prstGeom>
          </p:spPr>
        </p:pic>
        <p:pic>
          <p:nvPicPr>
            <p:cNvPr id="36" name="object 41">
              <a:extLst>
                <a:ext uri="{FF2B5EF4-FFF2-40B4-BE49-F238E27FC236}">
                  <a16:creationId xmlns:a16="http://schemas.microsoft.com/office/drawing/2014/main" id="{800EC7D5-BE3A-B1B5-357B-7EAD280A6BDE}"/>
                </a:ext>
              </a:extLst>
            </p:cNvPr>
            <p:cNvPicPr/>
            <p:nvPr/>
          </p:nvPicPr>
          <p:blipFill>
            <a:blip r:embed="rId11" cstate="print"/>
            <a:stretch>
              <a:fillRect/>
            </a:stretch>
          </p:blipFill>
          <p:spPr>
            <a:xfrm>
              <a:off x="3586920" y="1980214"/>
              <a:ext cx="167743" cy="163209"/>
            </a:xfrm>
            <a:prstGeom prst="rect">
              <a:avLst/>
            </a:prstGeom>
          </p:spPr>
        </p:pic>
      </p:grpSp>
      <p:pic>
        <p:nvPicPr>
          <p:cNvPr id="47" name="Picture 46">
            <a:extLst>
              <a:ext uri="{FF2B5EF4-FFF2-40B4-BE49-F238E27FC236}">
                <a16:creationId xmlns:a16="http://schemas.microsoft.com/office/drawing/2014/main" id="{6ABA658E-9C6D-D6B3-1F7F-1A838A4ED736}"/>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9078101" y="1335434"/>
            <a:ext cx="2719586" cy="2719586"/>
          </a:xfrm>
          <a:prstGeom prst="rect">
            <a:avLst/>
          </a:prstGeom>
        </p:spPr>
      </p:pic>
      <p:pic>
        <p:nvPicPr>
          <p:cNvPr id="48" name="Picture 47">
            <a:extLst>
              <a:ext uri="{FF2B5EF4-FFF2-40B4-BE49-F238E27FC236}">
                <a16:creationId xmlns:a16="http://schemas.microsoft.com/office/drawing/2014/main" id="{0E3EDFF1-6BDE-EAA8-C070-824C5F9AAD3E}"/>
              </a:ext>
            </a:extLst>
          </p:cNvPr>
          <p:cNvPicPr>
            <a:picLocks noChangeAspect="1"/>
          </p:cNvPicPr>
          <p:nvPr userDrawn="1"/>
        </p:nvPicPr>
        <p:blipFill>
          <a:blip r:embed="rId13" cstate="print">
            <a:extLst>
              <a:ext uri="{BEBA8EAE-BF5A-486C-A8C5-ECC9F3942E4B}">
                <a14:imgProps xmlns:a14="http://schemas.microsoft.com/office/drawing/2010/main">
                  <a14:imgLayer r:embed="rId14">
                    <a14:imgEffect>
                      <a14:artisticPencilSketch/>
                    </a14:imgEffect>
                  </a14:imgLayer>
                </a14:imgProps>
              </a:ext>
              <a:ext uri="{28A0092B-C50C-407E-A947-70E740481C1C}">
                <a14:useLocalDpi xmlns:a14="http://schemas.microsoft.com/office/drawing/2010/main" val="0"/>
              </a:ext>
            </a:extLst>
          </a:blip>
          <a:stretch>
            <a:fillRect/>
          </a:stretch>
        </p:blipFill>
        <p:spPr>
          <a:xfrm>
            <a:off x="14731072" y="6453659"/>
            <a:ext cx="1446464" cy="1446464"/>
          </a:xfrm>
          <a:prstGeom prst="rect">
            <a:avLst/>
          </a:prstGeom>
        </p:spPr>
      </p:pic>
    </p:spTree>
    <p:extLst>
      <p:ext uri="{BB962C8B-B14F-4D97-AF65-F5344CB8AC3E}">
        <p14:creationId xmlns:p14="http://schemas.microsoft.com/office/powerpoint/2010/main" val="35424093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10"/>
            <a:ext cx="20104100" cy="11308715"/>
          </a:xfrm>
          <a:custGeom>
            <a:avLst/>
            <a:gdLst/>
            <a:ahLst/>
            <a:cxnLst/>
            <a:rect l="l" t="t" r="r" b="b"/>
            <a:pathLst>
              <a:path w="20104100" h="11308715">
                <a:moveTo>
                  <a:pt x="20104099" y="0"/>
                </a:moveTo>
                <a:lnTo>
                  <a:pt x="0" y="0"/>
                </a:lnTo>
                <a:lnTo>
                  <a:pt x="0" y="11308545"/>
                </a:lnTo>
                <a:lnTo>
                  <a:pt x="20104099" y="11308545"/>
                </a:lnTo>
                <a:lnTo>
                  <a:pt x="20104099" y="0"/>
                </a:lnTo>
                <a:close/>
              </a:path>
            </a:pathLst>
          </a:custGeom>
          <a:solidFill>
            <a:srgbClr val="EB9F92"/>
          </a:solidFill>
        </p:spPr>
        <p:txBody>
          <a:bodyPr wrap="square" lIns="0" tIns="0" rIns="0" bIns="0" rtlCol="0"/>
          <a:lstStyle/>
          <a:p>
            <a:endParaRPr/>
          </a:p>
        </p:txBody>
      </p:sp>
      <p:sp>
        <p:nvSpPr>
          <p:cNvPr id="17" name="bg object 17"/>
          <p:cNvSpPr/>
          <p:nvPr/>
        </p:nvSpPr>
        <p:spPr>
          <a:xfrm>
            <a:off x="12484164" y="6598748"/>
            <a:ext cx="2336165" cy="2336165"/>
          </a:xfrm>
          <a:custGeom>
            <a:avLst/>
            <a:gdLst/>
            <a:ahLst/>
            <a:cxnLst/>
            <a:rect l="l" t="t" r="r" b="b"/>
            <a:pathLst>
              <a:path w="2336165" h="2336165">
                <a:moveTo>
                  <a:pt x="2336076" y="0"/>
                </a:moveTo>
                <a:lnTo>
                  <a:pt x="0" y="0"/>
                </a:lnTo>
                <a:lnTo>
                  <a:pt x="0" y="1051229"/>
                </a:lnTo>
                <a:lnTo>
                  <a:pt x="0" y="2336076"/>
                </a:lnTo>
                <a:lnTo>
                  <a:pt x="2336076" y="2336076"/>
                </a:lnTo>
                <a:lnTo>
                  <a:pt x="2336076" y="1051229"/>
                </a:lnTo>
                <a:lnTo>
                  <a:pt x="2336076" y="0"/>
                </a:lnTo>
                <a:close/>
              </a:path>
            </a:pathLst>
          </a:custGeom>
          <a:solidFill>
            <a:srgbClr val="6CBB79"/>
          </a:solidFill>
        </p:spPr>
        <p:txBody>
          <a:bodyPr wrap="square" lIns="0" tIns="0" rIns="0" bIns="0" rtlCol="0"/>
          <a:lstStyle/>
          <a:p>
            <a:endParaRPr/>
          </a:p>
        </p:txBody>
      </p:sp>
      <p:sp>
        <p:nvSpPr>
          <p:cNvPr id="18" name="bg object 18"/>
          <p:cNvSpPr/>
          <p:nvPr/>
        </p:nvSpPr>
        <p:spPr>
          <a:xfrm>
            <a:off x="12951392" y="7065959"/>
            <a:ext cx="1402080" cy="1402080"/>
          </a:xfrm>
          <a:custGeom>
            <a:avLst/>
            <a:gdLst/>
            <a:ahLst/>
            <a:cxnLst/>
            <a:rect l="l" t="t" r="r" b="b"/>
            <a:pathLst>
              <a:path w="1402080" h="1402079">
                <a:moveTo>
                  <a:pt x="773557" y="1066742"/>
                </a:moveTo>
                <a:lnTo>
                  <a:pt x="628085" y="1066742"/>
                </a:lnTo>
                <a:lnTo>
                  <a:pt x="628085" y="1328870"/>
                </a:lnTo>
                <a:lnTo>
                  <a:pt x="633811" y="1357168"/>
                </a:lnTo>
                <a:lnTo>
                  <a:pt x="649416" y="1380303"/>
                </a:lnTo>
                <a:lnTo>
                  <a:pt x="672537" y="1395914"/>
                </a:lnTo>
                <a:lnTo>
                  <a:pt x="700816" y="1401643"/>
                </a:lnTo>
                <a:lnTo>
                  <a:pt x="729100" y="1395914"/>
                </a:lnTo>
                <a:lnTo>
                  <a:pt x="752225" y="1380303"/>
                </a:lnTo>
                <a:lnTo>
                  <a:pt x="767831" y="1357168"/>
                </a:lnTo>
                <a:lnTo>
                  <a:pt x="773557" y="1328870"/>
                </a:lnTo>
                <a:lnTo>
                  <a:pt x="773557" y="1066742"/>
                </a:lnTo>
                <a:close/>
              </a:path>
              <a:path w="1402080" h="1402079">
                <a:moveTo>
                  <a:pt x="908037" y="1011696"/>
                </a:moveTo>
                <a:lnTo>
                  <a:pt x="492864" y="1011696"/>
                </a:lnTo>
                <a:lnTo>
                  <a:pt x="393066" y="1252841"/>
                </a:lnTo>
                <a:lnTo>
                  <a:pt x="387525" y="1281300"/>
                </a:lnTo>
                <a:lnTo>
                  <a:pt x="393128" y="1308704"/>
                </a:lnTo>
                <a:lnTo>
                  <a:pt x="408608" y="1332082"/>
                </a:lnTo>
                <a:lnTo>
                  <a:pt x="432698" y="1348461"/>
                </a:lnTo>
                <a:lnTo>
                  <a:pt x="461138" y="1354013"/>
                </a:lnTo>
                <a:lnTo>
                  <a:pt x="488485" y="1348410"/>
                </a:lnTo>
                <a:lnTo>
                  <a:pt x="511720" y="1332922"/>
                </a:lnTo>
                <a:lnTo>
                  <a:pt x="527826" y="1308818"/>
                </a:lnTo>
                <a:lnTo>
                  <a:pt x="628085" y="1066742"/>
                </a:lnTo>
                <a:lnTo>
                  <a:pt x="930880" y="1066742"/>
                </a:lnTo>
                <a:lnTo>
                  <a:pt x="908037" y="1011696"/>
                </a:lnTo>
                <a:close/>
              </a:path>
              <a:path w="1402080" h="1402079">
                <a:moveTo>
                  <a:pt x="930880" y="1066742"/>
                </a:moveTo>
                <a:lnTo>
                  <a:pt x="773557" y="1066742"/>
                </a:lnTo>
                <a:lnTo>
                  <a:pt x="873805" y="1308818"/>
                </a:lnTo>
                <a:lnTo>
                  <a:pt x="889916" y="1332922"/>
                </a:lnTo>
                <a:lnTo>
                  <a:pt x="913150" y="1348410"/>
                </a:lnTo>
                <a:lnTo>
                  <a:pt x="940490" y="1354013"/>
                </a:lnTo>
                <a:lnTo>
                  <a:pt x="968923" y="1348461"/>
                </a:lnTo>
                <a:lnTo>
                  <a:pt x="992946" y="1332082"/>
                </a:lnTo>
                <a:lnTo>
                  <a:pt x="1008269" y="1308704"/>
                </a:lnTo>
                <a:lnTo>
                  <a:pt x="1013714" y="1281300"/>
                </a:lnTo>
                <a:lnTo>
                  <a:pt x="1008105" y="1252841"/>
                </a:lnTo>
                <a:lnTo>
                  <a:pt x="930880" y="1066742"/>
                </a:lnTo>
                <a:close/>
              </a:path>
              <a:path w="1402080" h="1402079">
                <a:moveTo>
                  <a:pt x="1010890" y="908150"/>
                </a:moveTo>
                <a:lnTo>
                  <a:pt x="390281" y="908150"/>
                </a:lnTo>
                <a:lnTo>
                  <a:pt x="205156" y="1093327"/>
                </a:lnTo>
                <a:lnTo>
                  <a:pt x="189159" y="1117439"/>
                </a:lnTo>
                <a:lnTo>
                  <a:pt x="183826" y="1144870"/>
                </a:lnTo>
                <a:lnTo>
                  <a:pt x="189159" y="1172302"/>
                </a:lnTo>
                <a:lnTo>
                  <a:pt x="205156" y="1196413"/>
                </a:lnTo>
                <a:lnTo>
                  <a:pt x="229261" y="1212416"/>
                </a:lnTo>
                <a:lnTo>
                  <a:pt x="256687" y="1217750"/>
                </a:lnTo>
                <a:lnTo>
                  <a:pt x="284111" y="1212416"/>
                </a:lnTo>
                <a:lnTo>
                  <a:pt x="308210" y="1196413"/>
                </a:lnTo>
                <a:lnTo>
                  <a:pt x="492864" y="1011696"/>
                </a:lnTo>
                <a:lnTo>
                  <a:pt x="908037" y="1011696"/>
                </a:lnTo>
                <a:lnTo>
                  <a:pt x="907846" y="1011236"/>
                </a:lnTo>
                <a:lnTo>
                  <a:pt x="1113941" y="1011236"/>
                </a:lnTo>
                <a:lnTo>
                  <a:pt x="1010890" y="908150"/>
                </a:lnTo>
                <a:close/>
              </a:path>
              <a:path w="1402080" h="1402079">
                <a:moveTo>
                  <a:pt x="1113941" y="1011236"/>
                </a:moveTo>
                <a:lnTo>
                  <a:pt x="907846" y="1011236"/>
                </a:lnTo>
                <a:lnTo>
                  <a:pt x="1093422" y="1196413"/>
                </a:lnTo>
                <a:lnTo>
                  <a:pt x="1117453" y="1212416"/>
                </a:lnTo>
                <a:lnTo>
                  <a:pt x="1144717" y="1217750"/>
                </a:lnTo>
                <a:lnTo>
                  <a:pt x="1171979" y="1212416"/>
                </a:lnTo>
                <a:lnTo>
                  <a:pt x="1196005" y="1196413"/>
                </a:lnTo>
                <a:lnTo>
                  <a:pt x="1212008" y="1172302"/>
                </a:lnTo>
                <a:lnTo>
                  <a:pt x="1217342" y="1144870"/>
                </a:lnTo>
                <a:lnTo>
                  <a:pt x="1212008" y="1117439"/>
                </a:lnTo>
                <a:lnTo>
                  <a:pt x="1196005" y="1093327"/>
                </a:lnTo>
                <a:lnTo>
                  <a:pt x="1113941" y="1011236"/>
                </a:lnTo>
                <a:close/>
              </a:path>
              <a:path w="1402080" h="1402079">
                <a:moveTo>
                  <a:pt x="120760" y="387611"/>
                </a:moveTo>
                <a:lnTo>
                  <a:pt x="80895" y="399506"/>
                </a:lnTo>
                <a:lnTo>
                  <a:pt x="53610" y="432384"/>
                </a:lnTo>
                <a:lnTo>
                  <a:pt x="48001" y="460832"/>
                </a:lnTo>
                <a:lnTo>
                  <a:pt x="53447" y="488186"/>
                </a:lnTo>
                <a:lnTo>
                  <a:pt x="68769" y="511429"/>
                </a:lnTo>
                <a:lnTo>
                  <a:pt x="92792" y="527544"/>
                </a:lnTo>
                <a:lnTo>
                  <a:pt x="334785" y="627823"/>
                </a:lnTo>
                <a:lnTo>
                  <a:pt x="72730" y="627823"/>
                </a:lnTo>
                <a:lnTo>
                  <a:pt x="44447" y="633551"/>
                </a:lnTo>
                <a:lnTo>
                  <a:pt x="21326" y="649162"/>
                </a:lnTo>
                <a:lnTo>
                  <a:pt x="5724" y="672293"/>
                </a:lnTo>
                <a:lnTo>
                  <a:pt x="0" y="700585"/>
                </a:lnTo>
                <a:lnTo>
                  <a:pt x="5724" y="729076"/>
                </a:lnTo>
                <a:lnTo>
                  <a:pt x="21326" y="752186"/>
                </a:lnTo>
                <a:lnTo>
                  <a:pt x="44447" y="767686"/>
                </a:lnTo>
                <a:lnTo>
                  <a:pt x="72730" y="773348"/>
                </a:lnTo>
                <a:lnTo>
                  <a:pt x="334785" y="773348"/>
                </a:lnTo>
                <a:lnTo>
                  <a:pt x="92792" y="873638"/>
                </a:lnTo>
                <a:lnTo>
                  <a:pt x="68769" y="889813"/>
                </a:lnTo>
                <a:lnTo>
                  <a:pt x="53447" y="913164"/>
                </a:lnTo>
                <a:lnTo>
                  <a:pt x="48001" y="940542"/>
                </a:lnTo>
                <a:lnTo>
                  <a:pt x="53610" y="968797"/>
                </a:lnTo>
                <a:lnTo>
                  <a:pt x="69723" y="992894"/>
                </a:lnTo>
                <a:lnTo>
                  <a:pt x="92960" y="1008377"/>
                </a:lnTo>
                <a:lnTo>
                  <a:pt x="120304" y="1013981"/>
                </a:lnTo>
                <a:lnTo>
                  <a:pt x="148738" y="1008440"/>
                </a:lnTo>
                <a:lnTo>
                  <a:pt x="390281" y="908150"/>
                </a:lnTo>
                <a:lnTo>
                  <a:pt x="1344722" y="908150"/>
                </a:lnTo>
                <a:lnTo>
                  <a:pt x="1332674" y="889813"/>
                </a:lnTo>
                <a:lnTo>
                  <a:pt x="1316947" y="879135"/>
                </a:lnTo>
                <a:lnTo>
                  <a:pt x="700764" y="879135"/>
                </a:lnTo>
                <a:lnTo>
                  <a:pt x="653341" y="872761"/>
                </a:lnTo>
                <a:lnTo>
                  <a:pt x="610729" y="854772"/>
                </a:lnTo>
                <a:lnTo>
                  <a:pt x="574627" y="826871"/>
                </a:lnTo>
                <a:lnTo>
                  <a:pt x="546735" y="790758"/>
                </a:lnTo>
                <a:lnTo>
                  <a:pt x="528753" y="748134"/>
                </a:lnTo>
                <a:lnTo>
                  <a:pt x="522382" y="700701"/>
                </a:lnTo>
                <a:lnTo>
                  <a:pt x="528753" y="653263"/>
                </a:lnTo>
                <a:lnTo>
                  <a:pt x="546735" y="610636"/>
                </a:lnTo>
                <a:lnTo>
                  <a:pt x="574627" y="574521"/>
                </a:lnTo>
                <a:lnTo>
                  <a:pt x="610729" y="546619"/>
                </a:lnTo>
                <a:lnTo>
                  <a:pt x="653341" y="528630"/>
                </a:lnTo>
                <a:lnTo>
                  <a:pt x="700764" y="522256"/>
                </a:lnTo>
                <a:lnTo>
                  <a:pt x="1316667" y="522256"/>
                </a:lnTo>
                <a:lnTo>
                  <a:pt x="1332674" y="511429"/>
                </a:lnTo>
                <a:lnTo>
                  <a:pt x="1344514" y="493492"/>
                </a:lnTo>
                <a:lnTo>
                  <a:pt x="1010890" y="493492"/>
                </a:lnTo>
                <a:lnTo>
                  <a:pt x="1011361" y="493021"/>
                </a:lnTo>
                <a:lnTo>
                  <a:pt x="389810" y="493021"/>
                </a:lnTo>
                <a:lnTo>
                  <a:pt x="148738" y="393213"/>
                </a:lnTo>
                <a:lnTo>
                  <a:pt x="141747" y="390760"/>
                </a:lnTo>
                <a:lnTo>
                  <a:pt x="134753" y="389010"/>
                </a:lnTo>
                <a:lnTo>
                  <a:pt x="127757" y="387960"/>
                </a:lnTo>
                <a:lnTo>
                  <a:pt x="120760" y="387611"/>
                </a:lnTo>
                <a:close/>
              </a:path>
              <a:path w="1402080" h="1402079">
                <a:moveTo>
                  <a:pt x="1344722" y="908150"/>
                </a:moveTo>
                <a:lnTo>
                  <a:pt x="1010890" y="908150"/>
                </a:lnTo>
                <a:lnTo>
                  <a:pt x="1252893" y="1008440"/>
                </a:lnTo>
                <a:lnTo>
                  <a:pt x="1281332" y="1013981"/>
                </a:lnTo>
                <a:lnTo>
                  <a:pt x="1308674" y="1008377"/>
                </a:lnTo>
                <a:lnTo>
                  <a:pt x="1331906" y="992894"/>
                </a:lnTo>
                <a:lnTo>
                  <a:pt x="1348011" y="968797"/>
                </a:lnTo>
                <a:lnTo>
                  <a:pt x="1353566" y="940542"/>
                </a:lnTo>
                <a:lnTo>
                  <a:pt x="1348016" y="913164"/>
                </a:lnTo>
                <a:lnTo>
                  <a:pt x="1344722" y="908150"/>
                </a:lnTo>
                <a:close/>
              </a:path>
              <a:path w="1402080" h="1402079">
                <a:moveTo>
                  <a:pt x="1316667" y="522256"/>
                </a:moveTo>
                <a:lnTo>
                  <a:pt x="700764" y="522256"/>
                </a:lnTo>
                <a:lnTo>
                  <a:pt x="748182" y="528630"/>
                </a:lnTo>
                <a:lnTo>
                  <a:pt x="790793" y="546619"/>
                </a:lnTo>
                <a:lnTo>
                  <a:pt x="826896" y="574521"/>
                </a:lnTo>
                <a:lnTo>
                  <a:pt x="854789" y="610636"/>
                </a:lnTo>
                <a:lnTo>
                  <a:pt x="872773" y="653263"/>
                </a:lnTo>
                <a:lnTo>
                  <a:pt x="879146" y="700701"/>
                </a:lnTo>
                <a:lnTo>
                  <a:pt x="872773" y="748134"/>
                </a:lnTo>
                <a:lnTo>
                  <a:pt x="854789" y="790758"/>
                </a:lnTo>
                <a:lnTo>
                  <a:pt x="826896" y="826871"/>
                </a:lnTo>
                <a:lnTo>
                  <a:pt x="790793" y="854772"/>
                </a:lnTo>
                <a:lnTo>
                  <a:pt x="748182" y="872761"/>
                </a:lnTo>
                <a:lnTo>
                  <a:pt x="700764" y="879135"/>
                </a:lnTo>
                <a:lnTo>
                  <a:pt x="1316947" y="879135"/>
                </a:lnTo>
                <a:lnTo>
                  <a:pt x="1308850" y="873638"/>
                </a:lnTo>
                <a:lnTo>
                  <a:pt x="1066847" y="773348"/>
                </a:lnTo>
                <a:lnTo>
                  <a:pt x="1328430" y="773348"/>
                </a:lnTo>
                <a:lnTo>
                  <a:pt x="1356983" y="767686"/>
                </a:lnTo>
                <a:lnTo>
                  <a:pt x="1380248" y="752186"/>
                </a:lnTo>
                <a:lnTo>
                  <a:pt x="1395908" y="729076"/>
                </a:lnTo>
                <a:lnTo>
                  <a:pt x="1401643" y="700585"/>
                </a:lnTo>
                <a:lnTo>
                  <a:pt x="1395908" y="672293"/>
                </a:lnTo>
                <a:lnTo>
                  <a:pt x="1380248" y="649162"/>
                </a:lnTo>
                <a:lnTo>
                  <a:pt x="1356983" y="633551"/>
                </a:lnTo>
                <a:lnTo>
                  <a:pt x="1328430" y="627823"/>
                </a:lnTo>
                <a:lnTo>
                  <a:pt x="1066847" y="627823"/>
                </a:lnTo>
                <a:lnTo>
                  <a:pt x="1308850" y="527544"/>
                </a:lnTo>
                <a:lnTo>
                  <a:pt x="1316667" y="522256"/>
                </a:lnTo>
                <a:close/>
              </a:path>
              <a:path w="1402080" h="1402079">
                <a:moveTo>
                  <a:pt x="1280861" y="387611"/>
                </a:moveTo>
                <a:lnTo>
                  <a:pt x="1010890" y="493492"/>
                </a:lnTo>
                <a:lnTo>
                  <a:pt x="1344514" y="493492"/>
                </a:lnTo>
                <a:lnTo>
                  <a:pt x="1348016" y="488186"/>
                </a:lnTo>
                <a:lnTo>
                  <a:pt x="1353566" y="460832"/>
                </a:lnTo>
                <a:lnTo>
                  <a:pt x="1348011" y="432384"/>
                </a:lnTo>
                <a:lnTo>
                  <a:pt x="1336603" y="413585"/>
                </a:lnTo>
                <a:lnTo>
                  <a:pt x="1320734" y="399506"/>
                </a:lnTo>
                <a:lnTo>
                  <a:pt x="1301716" y="390672"/>
                </a:lnTo>
                <a:lnTo>
                  <a:pt x="1280861" y="387611"/>
                </a:lnTo>
                <a:close/>
              </a:path>
              <a:path w="1402080" h="1402079">
                <a:moveTo>
                  <a:pt x="256452" y="183784"/>
                </a:moveTo>
                <a:lnTo>
                  <a:pt x="216448" y="195787"/>
                </a:lnTo>
                <a:lnTo>
                  <a:pt x="189159" y="229342"/>
                </a:lnTo>
                <a:lnTo>
                  <a:pt x="183826" y="256773"/>
                </a:lnTo>
                <a:lnTo>
                  <a:pt x="189159" y="284206"/>
                </a:lnTo>
                <a:lnTo>
                  <a:pt x="205156" y="308315"/>
                </a:lnTo>
                <a:lnTo>
                  <a:pt x="389810" y="493021"/>
                </a:lnTo>
                <a:lnTo>
                  <a:pt x="1011361" y="493021"/>
                </a:lnTo>
                <a:lnTo>
                  <a:pt x="1113470" y="390878"/>
                </a:lnTo>
                <a:lnTo>
                  <a:pt x="907846" y="390878"/>
                </a:lnTo>
                <a:lnTo>
                  <a:pt x="908041" y="390406"/>
                </a:lnTo>
                <a:lnTo>
                  <a:pt x="493314" y="390406"/>
                </a:lnTo>
                <a:lnTo>
                  <a:pt x="308210" y="205239"/>
                </a:lnTo>
                <a:lnTo>
                  <a:pt x="296645" y="195787"/>
                </a:lnTo>
                <a:lnTo>
                  <a:pt x="283902" y="189089"/>
                </a:lnTo>
                <a:lnTo>
                  <a:pt x="270373" y="185103"/>
                </a:lnTo>
                <a:lnTo>
                  <a:pt x="256452" y="183784"/>
                </a:lnTo>
                <a:close/>
              </a:path>
              <a:path w="1402080" h="1402079">
                <a:moveTo>
                  <a:pt x="1144717" y="183894"/>
                </a:moveTo>
                <a:lnTo>
                  <a:pt x="1117453" y="189231"/>
                </a:lnTo>
                <a:lnTo>
                  <a:pt x="1093422" y="205239"/>
                </a:lnTo>
                <a:lnTo>
                  <a:pt x="907846" y="390878"/>
                </a:lnTo>
                <a:lnTo>
                  <a:pt x="1113470" y="390878"/>
                </a:lnTo>
                <a:lnTo>
                  <a:pt x="1196005" y="308315"/>
                </a:lnTo>
                <a:lnTo>
                  <a:pt x="1216141" y="270927"/>
                </a:lnTo>
                <a:lnTo>
                  <a:pt x="1217460" y="257007"/>
                </a:lnTo>
                <a:lnTo>
                  <a:pt x="1216141" y="243083"/>
                </a:lnTo>
                <a:lnTo>
                  <a:pt x="1196005" y="205239"/>
                </a:lnTo>
                <a:lnTo>
                  <a:pt x="1144717" y="183894"/>
                </a:lnTo>
                <a:close/>
              </a:path>
              <a:path w="1402080" h="1402079">
                <a:moveTo>
                  <a:pt x="461138" y="47618"/>
                </a:moveTo>
                <a:lnTo>
                  <a:pt x="413833" y="64585"/>
                </a:lnTo>
                <a:lnTo>
                  <a:pt x="390608" y="99480"/>
                </a:lnTo>
                <a:lnTo>
                  <a:pt x="387475" y="120341"/>
                </a:lnTo>
                <a:lnTo>
                  <a:pt x="387824" y="127339"/>
                </a:lnTo>
                <a:lnTo>
                  <a:pt x="388872" y="134336"/>
                </a:lnTo>
                <a:lnTo>
                  <a:pt x="390620" y="141333"/>
                </a:lnTo>
                <a:lnTo>
                  <a:pt x="393066" y="148330"/>
                </a:lnTo>
                <a:lnTo>
                  <a:pt x="493314" y="390406"/>
                </a:lnTo>
                <a:lnTo>
                  <a:pt x="908041" y="390406"/>
                </a:lnTo>
                <a:lnTo>
                  <a:pt x="931180" y="334429"/>
                </a:lnTo>
                <a:lnTo>
                  <a:pt x="628085" y="334429"/>
                </a:lnTo>
                <a:lnTo>
                  <a:pt x="527826" y="92353"/>
                </a:lnTo>
                <a:lnTo>
                  <a:pt x="511720" y="68521"/>
                </a:lnTo>
                <a:lnTo>
                  <a:pt x="488478" y="53171"/>
                </a:lnTo>
                <a:lnTo>
                  <a:pt x="461138" y="47618"/>
                </a:lnTo>
                <a:close/>
              </a:path>
              <a:path w="1402080" h="1402079">
                <a:moveTo>
                  <a:pt x="700816" y="0"/>
                </a:moveTo>
                <a:lnTo>
                  <a:pt x="672537" y="5728"/>
                </a:lnTo>
                <a:lnTo>
                  <a:pt x="649416" y="21338"/>
                </a:lnTo>
                <a:lnTo>
                  <a:pt x="633811" y="44470"/>
                </a:lnTo>
                <a:lnTo>
                  <a:pt x="628085" y="72762"/>
                </a:lnTo>
                <a:lnTo>
                  <a:pt x="628085" y="334429"/>
                </a:lnTo>
                <a:lnTo>
                  <a:pt x="773557" y="334429"/>
                </a:lnTo>
                <a:lnTo>
                  <a:pt x="773557" y="72762"/>
                </a:lnTo>
                <a:lnTo>
                  <a:pt x="767831" y="44470"/>
                </a:lnTo>
                <a:lnTo>
                  <a:pt x="752225" y="21338"/>
                </a:lnTo>
                <a:lnTo>
                  <a:pt x="729100" y="5728"/>
                </a:lnTo>
                <a:lnTo>
                  <a:pt x="700816" y="0"/>
                </a:lnTo>
                <a:close/>
              </a:path>
              <a:path w="1402080" h="1402079">
                <a:moveTo>
                  <a:pt x="940490" y="47618"/>
                </a:moveTo>
                <a:lnTo>
                  <a:pt x="913150" y="53172"/>
                </a:lnTo>
                <a:lnTo>
                  <a:pt x="889916" y="68521"/>
                </a:lnTo>
                <a:lnTo>
                  <a:pt x="873805" y="92353"/>
                </a:lnTo>
                <a:lnTo>
                  <a:pt x="773557" y="334429"/>
                </a:lnTo>
                <a:lnTo>
                  <a:pt x="931180" y="334429"/>
                </a:lnTo>
                <a:lnTo>
                  <a:pt x="1008105" y="148330"/>
                </a:lnTo>
                <a:lnTo>
                  <a:pt x="1013696" y="120341"/>
                </a:lnTo>
                <a:lnTo>
                  <a:pt x="1010635" y="99480"/>
                </a:lnTo>
                <a:lnTo>
                  <a:pt x="1001801" y="80458"/>
                </a:lnTo>
                <a:lnTo>
                  <a:pt x="987722" y="64585"/>
                </a:lnTo>
                <a:lnTo>
                  <a:pt x="968923" y="53171"/>
                </a:lnTo>
                <a:lnTo>
                  <a:pt x="940490" y="47618"/>
                </a:lnTo>
                <a:close/>
              </a:path>
            </a:pathLst>
          </a:custGeom>
          <a:solidFill>
            <a:srgbClr val="FFFFFF"/>
          </a:solidFill>
        </p:spPr>
        <p:txBody>
          <a:bodyPr wrap="square" lIns="0" tIns="0" rIns="0" bIns="0" rtlCol="0"/>
          <a:lstStyle/>
          <a:p>
            <a:endParaRPr/>
          </a:p>
        </p:txBody>
      </p:sp>
      <p:sp>
        <p:nvSpPr>
          <p:cNvPr id="19" name="bg object 19"/>
          <p:cNvSpPr/>
          <p:nvPr/>
        </p:nvSpPr>
        <p:spPr>
          <a:xfrm>
            <a:off x="14659616" y="7649976"/>
            <a:ext cx="1428115" cy="2569845"/>
          </a:xfrm>
          <a:custGeom>
            <a:avLst/>
            <a:gdLst/>
            <a:ahLst/>
            <a:cxnLst/>
            <a:rect l="l" t="t" r="r" b="b"/>
            <a:pathLst>
              <a:path w="1428115" h="2569845">
                <a:moveTo>
                  <a:pt x="1427600" y="0"/>
                </a:moveTo>
                <a:lnTo>
                  <a:pt x="0" y="0"/>
                </a:lnTo>
                <a:lnTo>
                  <a:pt x="0" y="2569670"/>
                </a:lnTo>
                <a:lnTo>
                  <a:pt x="1427600" y="2569670"/>
                </a:lnTo>
                <a:lnTo>
                  <a:pt x="1427600" y="0"/>
                </a:lnTo>
                <a:close/>
              </a:path>
            </a:pathLst>
          </a:custGeom>
          <a:solidFill>
            <a:srgbClr val="EDCC4B"/>
          </a:solidFill>
        </p:spPr>
        <p:txBody>
          <a:bodyPr wrap="square" lIns="0" tIns="0" rIns="0" bIns="0" rtlCol="0"/>
          <a:lstStyle/>
          <a:p>
            <a:endParaRPr/>
          </a:p>
        </p:txBody>
      </p:sp>
      <p:pic>
        <p:nvPicPr>
          <p:cNvPr id="20" name="bg object 20"/>
          <p:cNvPicPr/>
          <p:nvPr/>
        </p:nvPicPr>
        <p:blipFill>
          <a:blip r:embed="rId2" cstate="print"/>
          <a:stretch>
            <a:fillRect/>
          </a:stretch>
        </p:blipFill>
        <p:spPr>
          <a:xfrm>
            <a:off x="15250182" y="8363823"/>
            <a:ext cx="246474" cy="246484"/>
          </a:xfrm>
          <a:prstGeom prst="rect">
            <a:avLst/>
          </a:prstGeom>
        </p:spPr>
      </p:pic>
      <p:pic>
        <p:nvPicPr>
          <p:cNvPr id="21" name="bg object 21"/>
          <p:cNvPicPr/>
          <p:nvPr/>
        </p:nvPicPr>
        <p:blipFill>
          <a:blip r:embed="rId2" cstate="print"/>
          <a:stretch>
            <a:fillRect/>
          </a:stretch>
        </p:blipFill>
        <p:spPr>
          <a:xfrm>
            <a:off x="15250182" y="8811576"/>
            <a:ext cx="246474" cy="246484"/>
          </a:xfrm>
          <a:prstGeom prst="rect">
            <a:avLst/>
          </a:prstGeom>
        </p:spPr>
      </p:pic>
      <p:pic>
        <p:nvPicPr>
          <p:cNvPr id="22" name="bg object 22"/>
          <p:cNvPicPr/>
          <p:nvPr/>
        </p:nvPicPr>
        <p:blipFill>
          <a:blip r:embed="rId2" cstate="print"/>
          <a:stretch>
            <a:fillRect/>
          </a:stretch>
        </p:blipFill>
        <p:spPr>
          <a:xfrm>
            <a:off x="15250182" y="9259329"/>
            <a:ext cx="246474" cy="246484"/>
          </a:xfrm>
          <a:prstGeom prst="rect">
            <a:avLst/>
          </a:prstGeom>
        </p:spPr>
      </p:pic>
      <p:sp>
        <p:nvSpPr>
          <p:cNvPr id="23" name="bg object 23"/>
          <p:cNvSpPr/>
          <p:nvPr/>
        </p:nvSpPr>
        <p:spPr>
          <a:xfrm>
            <a:off x="14353030" y="8269511"/>
            <a:ext cx="306705" cy="354330"/>
          </a:xfrm>
          <a:custGeom>
            <a:avLst/>
            <a:gdLst/>
            <a:ahLst/>
            <a:cxnLst/>
            <a:rect l="l" t="t" r="r" b="b"/>
            <a:pathLst>
              <a:path w="306705" h="354329">
                <a:moveTo>
                  <a:pt x="306587" y="0"/>
                </a:moveTo>
                <a:lnTo>
                  <a:pt x="0" y="176999"/>
                </a:lnTo>
                <a:lnTo>
                  <a:pt x="306587" y="354010"/>
                </a:lnTo>
                <a:lnTo>
                  <a:pt x="306587" y="0"/>
                </a:lnTo>
                <a:close/>
              </a:path>
            </a:pathLst>
          </a:custGeom>
          <a:solidFill>
            <a:srgbClr val="F4CC1C"/>
          </a:solidFill>
        </p:spPr>
        <p:txBody>
          <a:bodyPr wrap="square" lIns="0" tIns="0" rIns="0" bIns="0" rtlCol="0"/>
          <a:lstStyle/>
          <a:p>
            <a:endParaRPr/>
          </a:p>
        </p:txBody>
      </p:sp>
      <p:sp>
        <p:nvSpPr>
          <p:cNvPr id="24" name="bg object 24"/>
          <p:cNvSpPr/>
          <p:nvPr/>
        </p:nvSpPr>
        <p:spPr>
          <a:xfrm>
            <a:off x="17040392" y="1141522"/>
            <a:ext cx="1416050" cy="2273300"/>
          </a:xfrm>
          <a:custGeom>
            <a:avLst/>
            <a:gdLst/>
            <a:ahLst/>
            <a:cxnLst/>
            <a:rect l="l" t="t" r="r" b="b"/>
            <a:pathLst>
              <a:path w="1416050" h="2273300">
                <a:moveTo>
                  <a:pt x="707905" y="0"/>
                </a:moveTo>
                <a:lnTo>
                  <a:pt x="659437" y="1633"/>
                </a:lnTo>
                <a:lnTo>
                  <a:pt x="611847" y="6462"/>
                </a:lnTo>
                <a:lnTo>
                  <a:pt x="565238" y="14382"/>
                </a:lnTo>
                <a:lnTo>
                  <a:pt x="519717" y="25287"/>
                </a:lnTo>
                <a:lnTo>
                  <a:pt x="475388" y="39072"/>
                </a:lnTo>
                <a:lnTo>
                  <a:pt x="432357" y="55631"/>
                </a:lnTo>
                <a:lnTo>
                  <a:pt x="390731" y="74859"/>
                </a:lnTo>
                <a:lnTo>
                  <a:pt x="350613" y="96650"/>
                </a:lnTo>
                <a:lnTo>
                  <a:pt x="312110" y="120899"/>
                </a:lnTo>
                <a:lnTo>
                  <a:pt x="275326" y="147501"/>
                </a:lnTo>
                <a:lnTo>
                  <a:pt x="240368" y="176351"/>
                </a:lnTo>
                <a:lnTo>
                  <a:pt x="207341" y="207341"/>
                </a:lnTo>
                <a:lnTo>
                  <a:pt x="176351" y="240368"/>
                </a:lnTo>
                <a:lnTo>
                  <a:pt x="147501" y="275326"/>
                </a:lnTo>
                <a:lnTo>
                  <a:pt x="120899" y="312110"/>
                </a:lnTo>
                <a:lnTo>
                  <a:pt x="96650" y="350613"/>
                </a:lnTo>
                <a:lnTo>
                  <a:pt x="74859" y="390731"/>
                </a:lnTo>
                <a:lnTo>
                  <a:pt x="55631" y="432357"/>
                </a:lnTo>
                <a:lnTo>
                  <a:pt x="39072" y="475388"/>
                </a:lnTo>
                <a:lnTo>
                  <a:pt x="25287" y="519717"/>
                </a:lnTo>
                <a:lnTo>
                  <a:pt x="14382" y="565238"/>
                </a:lnTo>
                <a:lnTo>
                  <a:pt x="6462" y="611847"/>
                </a:lnTo>
                <a:lnTo>
                  <a:pt x="1633" y="659437"/>
                </a:lnTo>
                <a:lnTo>
                  <a:pt x="0" y="707905"/>
                </a:lnTo>
                <a:lnTo>
                  <a:pt x="0" y="2273197"/>
                </a:lnTo>
                <a:lnTo>
                  <a:pt x="1415789" y="2273197"/>
                </a:lnTo>
                <a:lnTo>
                  <a:pt x="1415789" y="1581805"/>
                </a:lnTo>
                <a:lnTo>
                  <a:pt x="572390" y="1581805"/>
                </a:lnTo>
                <a:lnTo>
                  <a:pt x="532633" y="1545357"/>
                </a:lnTo>
                <a:lnTo>
                  <a:pt x="498026" y="1508973"/>
                </a:lnTo>
                <a:lnTo>
                  <a:pt x="467912" y="1471904"/>
                </a:lnTo>
                <a:lnTo>
                  <a:pt x="441636" y="1433400"/>
                </a:lnTo>
                <a:lnTo>
                  <a:pt x="418542" y="1392711"/>
                </a:lnTo>
                <a:lnTo>
                  <a:pt x="397974" y="1349089"/>
                </a:lnTo>
                <a:lnTo>
                  <a:pt x="379276" y="1301782"/>
                </a:lnTo>
                <a:lnTo>
                  <a:pt x="363534" y="1252063"/>
                </a:lnTo>
                <a:lnTo>
                  <a:pt x="353208" y="1200782"/>
                </a:lnTo>
                <a:lnTo>
                  <a:pt x="350889" y="1149777"/>
                </a:lnTo>
                <a:lnTo>
                  <a:pt x="359171" y="1100886"/>
                </a:lnTo>
                <a:lnTo>
                  <a:pt x="380648" y="1055946"/>
                </a:lnTo>
                <a:lnTo>
                  <a:pt x="416937" y="1018614"/>
                </a:lnTo>
                <a:lnTo>
                  <a:pt x="463644" y="993837"/>
                </a:lnTo>
                <a:lnTo>
                  <a:pt x="516207" y="982660"/>
                </a:lnTo>
                <a:lnTo>
                  <a:pt x="1415789" y="982660"/>
                </a:lnTo>
                <a:lnTo>
                  <a:pt x="1415789" y="707905"/>
                </a:lnTo>
                <a:lnTo>
                  <a:pt x="1414156" y="659437"/>
                </a:lnTo>
                <a:lnTo>
                  <a:pt x="1409327" y="611847"/>
                </a:lnTo>
                <a:lnTo>
                  <a:pt x="1401408" y="565238"/>
                </a:lnTo>
                <a:lnTo>
                  <a:pt x="1390503" y="519717"/>
                </a:lnTo>
                <a:lnTo>
                  <a:pt x="1376719" y="475388"/>
                </a:lnTo>
                <a:lnTo>
                  <a:pt x="1360161" y="432357"/>
                </a:lnTo>
                <a:lnTo>
                  <a:pt x="1340934" y="390731"/>
                </a:lnTo>
                <a:lnTo>
                  <a:pt x="1319144" y="350613"/>
                </a:lnTo>
                <a:lnTo>
                  <a:pt x="1294896" y="312110"/>
                </a:lnTo>
                <a:lnTo>
                  <a:pt x="1268295" y="275326"/>
                </a:lnTo>
                <a:lnTo>
                  <a:pt x="1239447" y="240368"/>
                </a:lnTo>
                <a:lnTo>
                  <a:pt x="1208457" y="207341"/>
                </a:lnTo>
                <a:lnTo>
                  <a:pt x="1175432" y="176351"/>
                </a:lnTo>
                <a:lnTo>
                  <a:pt x="1140475" y="147501"/>
                </a:lnTo>
                <a:lnTo>
                  <a:pt x="1103693" y="120899"/>
                </a:lnTo>
                <a:lnTo>
                  <a:pt x="1065191" y="96650"/>
                </a:lnTo>
                <a:lnTo>
                  <a:pt x="1025074" y="74859"/>
                </a:lnTo>
                <a:lnTo>
                  <a:pt x="983449" y="55631"/>
                </a:lnTo>
                <a:lnTo>
                  <a:pt x="940419" y="39072"/>
                </a:lnTo>
                <a:lnTo>
                  <a:pt x="896091" y="25287"/>
                </a:lnTo>
                <a:lnTo>
                  <a:pt x="850570" y="14382"/>
                </a:lnTo>
                <a:lnTo>
                  <a:pt x="803962" y="6462"/>
                </a:lnTo>
                <a:lnTo>
                  <a:pt x="756372" y="1633"/>
                </a:lnTo>
                <a:lnTo>
                  <a:pt x="707905" y="0"/>
                </a:lnTo>
                <a:close/>
              </a:path>
              <a:path w="1416050" h="2273300">
                <a:moveTo>
                  <a:pt x="1415789" y="1051716"/>
                </a:moveTo>
                <a:lnTo>
                  <a:pt x="872580" y="1051716"/>
                </a:lnTo>
                <a:lnTo>
                  <a:pt x="916941" y="1054486"/>
                </a:lnTo>
                <a:lnTo>
                  <a:pt x="959604" y="1066820"/>
                </a:lnTo>
                <a:lnTo>
                  <a:pt x="997602" y="1088469"/>
                </a:lnTo>
                <a:lnTo>
                  <a:pt x="1027968" y="1119180"/>
                </a:lnTo>
                <a:lnTo>
                  <a:pt x="1047007" y="1155596"/>
                </a:lnTo>
                <a:lnTo>
                  <a:pt x="1057732" y="1198052"/>
                </a:lnTo>
                <a:lnTo>
                  <a:pt x="1059935" y="1241804"/>
                </a:lnTo>
                <a:lnTo>
                  <a:pt x="1053412" y="1282107"/>
                </a:lnTo>
                <a:lnTo>
                  <a:pt x="1039439" y="1317927"/>
                </a:lnTo>
                <a:lnTo>
                  <a:pt x="1020225" y="1351423"/>
                </a:lnTo>
                <a:lnTo>
                  <a:pt x="996943" y="1382663"/>
                </a:lnTo>
                <a:lnTo>
                  <a:pt x="970766" y="1411716"/>
                </a:lnTo>
                <a:lnTo>
                  <a:pt x="932973" y="1446481"/>
                </a:lnTo>
                <a:lnTo>
                  <a:pt x="891287" y="1477691"/>
                </a:lnTo>
                <a:lnTo>
                  <a:pt x="846683" y="1505170"/>
                </a:lnTo>
                <a:lnTo>
                  <a:pt x="800137" y="1528741"/>
                </a:lnTo>
                <a:lnTo>
                  <a:pt x="752622" y="1548228"/>
                </a:lnTo>
                <a:lnTo>
                  <a:pt x="705115" y="1563454"/>
                </a:lnTo>
                <a:lnTo>
                  <a:pt x="658590" y="1574243"/>
                </a:lnTo>
                <a:lnTo>
                  <a:pt x="614024" y="1580419"/>
                </a:lnTo>
                <a:lnTo>
                  <a:pt x="572390" y="1581805"/>
                </a:lnTo>
                <a:lnTo>
                  <a:pt x="1415789" y="1581805"/>
                </a:lnTo>
                <a:lnTo>
                  <a:pt x="1415789" y="1051716"/>
                </a:lnTo>
                <a:close/>
              </a:path>
              <a:path w="1416050" h="2273300">
                <a:moveTo>
                  <a:pt x="1415789" y="982660"/>
                </a:moveTo>
                <a:lnTo>
                  <a:pt x="516207" y="982660"/>
                </a:lnTo>
                <a:lnTo>
                  <a:pt x="570066" y="986127"/>
                </a:lnTo>
                <a:lnTo>
                  <a:pt x="615064" y="1003253"/>
                </a:lnTo>
                <a:lnTo>
                  <a:pt x="648663" y="1031200"/>
                </a:lnTo>
                <a:lnTo>
                  <a:pt x="677703" y="1068227"/>
                </a:lnTo>
                <a:lnTo>
                  <a:pt x="709025" y="1112594"/>
                </a:lnTo>
                <a:lnTo>
                  <a:pt x="745718" y="1088675"/>
                </a:lnTo>
                <a:lnTo>
                  <a:pt x="785965" y="1070045"/>
                </a:lnTo>
                <a:lnTo>
                  <a:pt x="828631" y="1057471"/>
                </a:lnTo>
                <a:lnTo>
                  <a:pt x="872580" y="1051716"/>
                </a:lnTo>
                <a:lnTo>
                  <a:pt x="1415789" y="1051716"/>
                </a:lnTo>
                <a:lnTo>
                  <a:pt x="1415789" y="982660"/>
                </a:lnTo>
                <a:close/>
              </a:path>
            </a:pathLst>
          </a:custGeom>
          <a:solidFill>
            <a:srgbClr val="D65024"/>
          </a:solidFill>
        </p:spPr>
        <p:txBody>
          <a:bodyPr wrap="square" lIns="0" tIns="0" rIns="0" bIns="0" rtlCol="0"/>
          <a:lstStyle/>
          <a:p>
            <a:endParaRPr/>
          </a:p>
        </p:txBody>
      </p:sp>
      <p:sp>
        <p:nvSpPr>
          <p:cNvPr id="25" name="bg object 25"/>
          <p:cNvSpPr/>
          <p:nvPr/>
        </p:nvSpPr>
        <p:spPr>
          <a:xfrm>
            <a:off x="17391282" y="2124182"/>
            <a:ext cx="709295" cy="599440"/>
          </a:xfrm>
          <a:custGeom>
            <a:avLst/>
            <a:gdLst/>
            <a:ahLst/>
            <a:cxnLst/>
            <a:rect l="l" t="t" r="r" b="b"/>
            <a:pathLst>
              <a:path w="709294" h="599439">
                <a:moveTo>
                  <a:pt x="165318" y="0"/>
                </a:moveTo>
                <a:lnTo>
                  <a:pt x="112754" y="11176"/>
                </a:lnTo>
                <a:lnTo>
                  <a:pt x="66047" y="35953"/>
                </a:lnTo>
                <a:lnTo>
                  <a:pt x="29758" y="73286"/>
                </a:lnTo>
                <a:lnTo>
                  <a:pt x="8282" y="118225"/>
                </a:lnTo>
                <a:lnTo>
                  <a:pt x="0" y="167116"/>
                </a:lnTo>
                <a:lnTo>
                  <a:pt x="2318" y="218121"/>
                </a:lnTo>
                <a:lnTo>
                  <a:pt x="12645" y="269402"/>
                </a:lnTo>
                <a:lnTo>
                  <a:pt x="28386" y="319121"/>
                </a:lnTo>
                <a:lnTo>
                  <a:pt x="47084" y="366428"/>
                </a:lnTo>
                <a:lnTo>
                  <a:pt x="67652" y="410051"/>
                </a:lnTo>
                <a:lnTo>
                  <a:pt x="90746" y="450739"/>
                </a:lnTo>
                <a:lnTo>
                  <a:pt x="117022" y="489243"/>
                </a:lnTo>
                <a:lnTo>
                  <a:pt x="147136" y="526312"/>
                </a:lnTo>
                <a:lnTo>
                  <a:pt x="181744" y="562696"/>
                </a:lnTo>
                <a:lnTo>
                  <a:pt x="221501" y="599144"/>
                </a:lnTo>
                <a:lnTo>
                  <a:pt x="263134" y="597758"/>
                </a:lnTo>
                <a:lnTo>
                  <a:pt x="307701" y="591583"/>
                </a:lnTo>
                <a:lnTo>
                  <a:pt x="354225" y="580794"/>
                </a:lnTo>
                <a:lnTo>
                  <a:pt x="401732" y="565567"/>
                </a:lnTo>
                <a:lnTo>
                  <a:pt x="449247" y="546081"/>
                </a:lnTo>
                <a:lnTo>
                  <a:pt x="495794" y="522510"/>
                </a:lnTo>
                <a:lnTo>
                  <a:pt x="540398" y="495031"/>
                </a:lnTo>
                <a:lnTo>
                  <a:pt x="582084" y="463820"/>
                </a:lnTo>
                <a:lnTo>
                  <a:pt x="619876" y="429055"/>
                </a:lnTo>
                <a:lnTo>
                  <a:pt x="646054" y="400003"/>
                </a:lnTo>
                <a:lnTo>
                  <a:pt x="669335" y="368762"/>
                </a:lnTo>
                <a:lnTo>
                  <a:pt x="688549" y="335266"/>
                </a:lnTo>
                <a:lnTo>
                  <a:pt x="702523" y="299446"/>
                </a:lnTo>
                <a:lnTo>
                  <a:pt x="709046" y="259144"/>
                </a:lnTo>
                <a:lnTo>
                  <a:pt x="706842" y="215391"/>
                </a:lnTo>
                <a:lnTo>
                  <a:pt x="696118" y="172935"/>
                </a:lnTo>
                <a:lnTo>
                  <a:pt x="677079" y="136519"/>
                </a:lnTo>
                <a:lnTo>
                  <a:pt x="646712" y="105808"/>
                </a:lnTo>
                <a:lnTo>
                  <a:pt x="608714" y="84160"/>
                </a:lnTo>
                <a:lnTo>
                  <a:pt x="566051" y="71825"/>
                </a:lnTo>
                <a:lnTo>
                  <a:pt x="521691" y="69055"/>
                </a:lnTo>
                <a:lnTo>
                  <a:pt x="477741" y="74810"/>
                </a:lnTo>
                <a:lnTo>
                  <a:pt x="435075" y="87385"/>
                </a:lnTo>
                <a:lnTo>
                  <a:pt x="394829" y="106014"/>
                </a:lnTo>
                <a:lnTo>
                  <a:pt x="358135" y="129933"/>
                </a:lnTo>
                <a:lnTo>
                  <a:pt x="326814" y="85566"/>
                </a:lnTo>
                <a:lnTo>
                  <a:pt x="297773" y="48539"/>
                </a:lnTo>
                <a:lnTo>
                  <a:pt x="264174" y="20592"/>
                </a:lnTo>
                <a:lnTo>
                  <a:pt x="219176" y="3466"/>
                </a:lnTo>
                <a:lnTo>
                  <a:pt x="165318" y="0"/>
                </a:lnTo>
                <a:close/>
              </a:path>
            </a:pathLst>
          </a:custGeom>
          <a:solidFill>
            <a:srgbClr val="FFFFFF"/>
          </a:solidFill>
        </p:spPr>
        <p:txBody>
          <a:bodyPr wrap="square" lIns="0" tIns="0" rIns="0" bIns="0" rtlCol="0"/>
          <a:lstStyle/>
          <a:p>
            <a:endParaRPr/>
          </a:p>
        </p:txBody>
      </p:sp>
      <p:sp>
        <p:nvSpPr>
          <p:cNvPr id="2" name="Holder 2"/>
          <p:cNvSpPr>
            <a:spLocks noGrp="1"/>
          </p:cNvSpPr>
          <p:nvPr>
            <p:ph type="ctrTitle"/>
          </p:nvPr>
        </p:nvSpPr>
        <p:spPr>
          <a:xfrm>
            <a:off x="1233621" y="5125348"/>
            <a:ext cx="5300345" cy="2056129"/>
          </a:xfrm>
          <a:prstGeom prst="rect">
            <a:avLst/>
          </a:prstGeom>
        </p:spPr>
        <p:txBody>
          <a:bodyPr wrap="square" lIns="0" tIns="0" rIns="0" bIns="0">
            <a:spAutoFit/>
          </a:bodyPr>
          <a:lstStyle>
            <a:lvl1pPr>
              <a:defRPr sz="5900" b="1" i="0">
                <a:solidFill>
                  <a:srgbClr val="F4CC1C"/>
                </a:solidFill>
                <a:latin typeface="Nexa Black"/>
                <a:cs typeface="Nexa Black"/>
              </a:defRPr>
            </a:lvl1pPr>
          </a:lstStyle>
          <a:p>
            <a:endParaRPr/>
          </a:p>
        </p:txBody>
      </p:sp>
      <p:sp>
        <p:nvSpPr>
          <p:cNvPr id="3" name="Holder 3"/>
          <p:cNvSpPr>
            <a:spLocks noGrp="1"/>
          </p:cNvSpPr>
          <p:nvPr>
            <p:ph type="subTitle" idx="4"/>
          </p:nvPr>
        </p:nvSpPr>
        <p:spPr>
          <a:xfrm>
            <a:off x="3015615" y="6333236"/>
            <a:ext cx="14072870" cy="2827337"/>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30/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041970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900" b="1" i="0">
                <a:solidFill>
                  <a:srgbClr val="F4CC1C"/>
                </a:solidFill>
                <a:latin typeface="Nexa Black"/>
                <a:cs typeface="Nexa Black"/>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30/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7287893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900" b="1" i="0">
                <a:solidFill>
                  <a:srgbClr val="F4CC1C"/>
                </a:solidFill>
                <a:latin typeface="Nexa Black"/>
                <a:cs typeface="Nexa Black"/>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30/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900" b="1" i="0">
                <a:solidFill>
                  <a:srgbClr val="F4CC1C"/>
                </a:solidFill>
                <a:latin typeface="Nexa Black"/>
                <a:cs typeface="Nexa Black"/>
              </a:defRPr>
            </a:lvl1pPr>
          </a:lstStyle>
          <a:p>
            <a:endParaRPr/>
          </a:p>
        </p:txBody>
      </p:sp>
      <p:sp>
        <p:nvSpPr>
          <p:cNvPr id="3" name="Holder 3"/>
          <p:cNvSpPr>
            <a:spLocks noGrp="1"/>
          </p:cNvSpPr>
          <p:nvPr>
            <p:ph sz="half" idx="2"/>
          </p:nvPr>
        </p:nvSpPr>
        <p:spPr>
          <a:xfrm>
            <a:off x="1005205" y="2601150"/>
            <a:ext cx="8745284" cy="7464171"/>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10353611" y="2601150"/>
            <a:ext cx="8745284" cy="7464171"/>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30/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21817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900" b="1" i="0">
                <a:solidFill>
                  <a:srgbClr val="F4CC1C"/>
                </a:solidFill>
                <a:latin typeface="Nexa Black"/>
                <a:cs typeface="Nexa Black"/>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30/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410921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30/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610443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900" b="1" i="0">
                <a:solidFill>
                  <a:srgbClr val="F4CC1C"/>
                </a:solidFill>
                <a:latin typeface="Nexa Black"/>
                <a:cs typeface="Nexa Black"/>
              </a:defRPr>
            </a:lvl1pPr>
          </a:lstStyle>
          <a:p>
            <a:endParaRPr/>
          </a:p>
        </p:txBody>
      </p:sp>
      <p:sp>
        <p:nvSpPr>
          <p:cNvPr id="3" name="Holder 3"/>
          <p:cNvSpPr>
            <a:spLocks noGrp="1"/>
          </p:cNvSpPr>
          <p:nvPr>
            <p:ph sz="half" idx="2"/>
          </p:nvPr>
        </p:nvSpPr>
        <p:spPr>
          <a:xfrm>
            <a:off x="1005205" y="2601150"/>
            <a:ext cx="8745284" cy="7464171"/>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10353611" y="2601150"/>
            <a:ext cx="8745284" cy="7464171"/>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30/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900" b="1" i="0">
                <a:solidFill>
                  <a:srgbClr val="F4CC1C"/>
                </a:solidFill>
                <a:latin typeface="Nexa Black"/>
                <a:cs typeface="Nexa Black"/>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30/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30/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grpSp>
        <p:nvGrpSpPr>
          <p:cNvPr id="7" name="object 2">
            <a:extLst>
              <a:ext uri="{FF2B5EF4-FFF2-40B4-BE49-F238E27FC236}">
                <a16:creationId xmlns:a16="http://schemas.microsoft.com/office/drawing/2014/main" id="{A22EE57E-08C8-55F8-BAFA-E8DB34BA08D3}"/>
              </a:ext>
            </a:extLst>
          </p:cNvPr>
          <p:cNvGrpSpPr/>
          <p:nvPr userDrawn="1"/>
        </p:nvGrpSpPr>
        <p:grpSpPr>
          <a:xfrm>
            <a:off x="10777713" y="0"/>
            <a:ext cx="9326880" cy="11301095"/>
            <a:chOff x="10777713" y="0"/>
            <a:chExt cx="9326880" cy="11301095"/>
          </a:xfrm>
        </p:grpSpPr>
        <p:sp>
          <p:nvSpPr>
            <p:cNvPr id="8" name="object 3">
              <a:extLst>
                <a:ext uri="{FF2B5EF4-FFF2-40B4-BE49-F238E27FC236}">
                  <a16:creationId xmlns:a16="http://schemas.microsoft.com/office/drawing/2014/main" id="{50EF559C-C114-A72C-512B-7301CF1E8E92}"/>
                </a:ext>
              </a:extLst>
            </p:cNvPr>
            <p:cNvSpPr/>
            <p:nvPr/>
          </p:nvSpPr>
          <p:spPr>
            <a:xfrm>
              <a:off x="10777713" y="0"/>
              <a:ext cx="9326880" cy="11301095"/>
            </a:xfrm>
            <a:custGeom>
              <a:avLst/>
              <a:gdLst/>
              <a:ahLst/>
              <a:cxnLst/>
              <a:rect l="l" t="t" r="r" b="b"/>
              <a:pathLst>
                <a:path w="9326880" h="11301095">
                  <a:moveTo>
                    <a:pt x="9326386" y="0"/>
                  </a:moveTo>
                  <a:lnTo>
                    <a:pt x="0" y="0"/>
                  </a:lnTo>
                  <a:lnTo>
                    <a:pt x="0" y="11300891"/>
                  </a:lnTo>
                  <a:lnTo>
                    <a:pt x="9326386" y="11300891"/>
                  </a:lnTo>
                  <a:lnTo>
                    <a:pt x="9326386" y="0"/>
                  </a:lnTo>
                  <a:close/>
                </a:path>
              </a:pathLst>
            </a:custGeom>
            <a:solidFill>
              <a:srgbClr val="EB9F92"/>
            </a:solidFill>
          </p:spPr>
          <p:txBody>
            <a:bodyPr wrap="square" lIns="0" tIns="0" rIns="0" bIns="0" rtlCol="0"/>
            <a:lstStyle/>
            <a:p>
              <a:endParaRPr/>
            </a:p>
          </p:txBody>
        </p:sp>
        <p:sp>
          <p:nvSpPr>
            <p:cNvPr id="9" name="object 4">
              <a:extLst>
                <a:ext uri="{FF2B5EF4-FFF2-40B4-BE49-F238E27FC236}">
                  <a16:creationId xmlns:a16="http://schemas.microsoft.com/office/drawing/2014/main" id="{FA0EFC00-F672-1109-76CA-D8626FEA69E9}"/>
                </a:ext>
              </a:extLst>
            </p:cNvPr>
            <p:cNvSpPr/>
            <p:nvPr/>
          </p:nvSpPr>
          <p:spPr>
            <a:xfrm>
              <a:off x="13079439" y="2874362"/>
              <a:ext cx="4749800" cy="5174615"/>
            </a:xfrm>
            <a:custGeom>
              <a:avLst/>
              <a:gdLst/>
              <a:ahLst/>
              <a:cxnLst/>
              <a:rect l="l" t="t" r="r" b="b"/>
              <a:pathLst>
                <a:path w="4749800" h="5174615">
                  <a:moveTo>
                    <a:pt x="2374859" y="0"/>
                  </a:moveTo>
                  <a:lnTo>
                    <a:pt x="2326397" y="484"/>
                  </a:lnTo>
                  <a:lnTo>
                    <a:pt x="2278171" y="1932"/>
                  </a:lnTo>
                  <a:lnTo>
                    <a:pt x="2230190" y="4334"/>
                  </a:lnTo>
                  <a:lnTo>
                    <a:pt x="2182464" y="7680"/>
                  </a:lnTo>
                  <a:lnTo>
                    <a:pt x="2135002" y="11962"/>
                  </a:lnTo>
                  <a:lnTo>
                    <a:pt x="2087813" y="17171"/>
                  </a:lnTo>
                  <a:lnTo>
                    <a:pt x="2040906" y="23296"/>
                  </a:lnTo>
                  <a:lnTo>
                    <a:pt x="1994291" y="30330"/>
                  </a:lnTo>
                  <a:lnTo>
                    <a:pt x="1947976" y="38262"/>
                  </a:lnTo>
                  <a:lnTo>
                    <a:pt x="1901972" y="47084"/>
                  </a:lnTo>
                  <a:lnTo>
                    <a:pt x="1856286" y="56786"/>
                  </a:lnTo>
                  <a:lnTo>
                    <a:pt x="1810929" y="67359"/>
                  </a:lnTo>
                  <a:lnTo>
                    <a:pt x="1765910" y="78794"/>
                  </a:lnTo>
                  <a:lnTo>
                    <a:pt x="1721237" y="91082"/>
                  </a:lnTo>
                  <a:lnTo>
                    <a:pt x="1676920" y="104214"/>
                  </a:lnTo>
                  <a:lnTo>
                    <a:pt x="1632968" y="118180"/>
                  </a:lnTo>
                  <a:lnTo>
                    <a:pt x="1589390" y="132971"/>
                  </a:lnTo>
                  <a:lnTo>
                    <a:pt x="1546196" y="148577"/>
                  </a:lnTo>
                  <a:lnTo>
                    <a:pt x="1503394" y="164991"/>
                  </a:lnTo>
                  <a:lnTo>
                    <a:pt x="1460995" y="182202"/>
                  </a:lnTo>
                  <a:lnTo>
                    <a:pt x="1419006" y="200202"/>
                  </a:lnTo>
                  <a:lnTo>
                    <a:pt x="1377438" y="218981"/>
                  </a:lnTo>
                  <a:lnTo>
                    <a:pt x="1336300" y="238529"/>
                  </a:lnTo>
                  <a:lnTo>
                    <a:pt x="1295600" y="258839"/>
                  </a:lnTo>
                  <a:lnTo>
                    <a:pt x="1255348" y="279899"/>
                  </a:lnTo>
                  <a:lnTo>
                    <a:pt x="1215553" y="301703"/>
                  </a:lnTo>
                  <a:lnTo>
                    <a:pt x="1176224" y="324239"/>
                  </a:lnTo>
                  <a:lnTo>
                    <a:pt x="1137371" y="347499"/>
                  </a:lnTo>
                  <a:lnTo>
                    <a:pt x="1099003" y="371474"/>
                  </a:lnTo>
                  <a:lnTo>
                    <a:pt x="1061128" y="396155"/>
                  </a:lnTo>
                  <a:lnTo>
                    <a:pt x="1023757" y="421532"/>
                  </a:lnTo>
                  <a:lnTo>
                    <a:pt x="986898" y="447596"/>
                  </a:lnTo>
                  <a:lnTo>
                    <a:pt x="950561" y="474338"/>
                  </a:lnTo>
                  <a:lnTo>
                    <a:pt x="914754" y="501749"/>
                  </a:lnTo>
                  <a:lnTo>
                    <a:pt x="879487" y="529819"/>
                  </a:lnTo>
                  <a:lnTo>
                    <a:pt x="844769" y="558539"/>
                  </a:lnTo>
                  <a:lnTo>
                    <a:pt x="810610" y="587901"/>
                  </a:lnTo>
                  <a:lnTo>
                    <a:pt x="777018" y="617895"/>
                  </a:lnTo>
                  <a:lnTo>
                    <a:pt x="744003" y="648511"/>
                  </a:lnTo>
                  <a:lnTo>
                    <a:pt x="711574" y="679741"/>
                  </a:lnTo>
                  <a:lnTo>
                    <a:pt x="679740" y="711575"/>
                  </a:lnTo>
                  <a:lnTo>
                    <a:pt x="648510" y="744004"/>
                  </a:lnTo>
                  <a:lnTo>
                    <a:pt x="617894" y="777020"/>
                  </a:lnTo>
                  <a:lnTo>
                    <a:pt x="587900" y="810612"/>
                  </a:lnTo>
                  <a:lnTo>
                    <a:pt x="558538" y="844771"/>
                  </a:lnTo>
                  <a:lnTo>
                    <a:pt x="529818" y="879489"/>
                  </a:lnTo>
                  <a:lnTo>
                    <a:pt x="501748" y="914756"/>
                  </a:lnTo>
                  <a:lnTo>
                    <a:pt x="474337" y="950563"/>
                  </a:lnTo>
                  <a:lnTo>
                    <a:pt x="447595" y="986901"/>
                  </a:lnTo>
                  <a:lnTo>
                    <a:pt x="421531" y="1023760"/>
                  </a:lnTo>
                  <a:lnTo>
                    <a:pt x="396154" y="1061131"/>
                  </a:lnTo>
                  <a:lnTo>
                    <a:pt x="371474" y="1099006"/>
                  </a:lnTo>
                  <a:lnTo>
                    <a:pt x="347499" y="1137374"/>
                  </a:lnTo>
                  <a:lnTo>
                    <a:pt x="324239" y="1176227"/>
                  </a:lnTo>
                  <a:lnTo>
                    <a:pt x="301702" y="1215556"/>
                  </a:lnTo>
                  <a:lnTo>
                    <a:pt x="279899" y="1255351"/>
                  </a:lnTo>
                  <a:lnTo>
                    <a:pt x="258838" y="1295603"/>
                  </a:lnTo>
                  <a:lnTo>
                    <a:pt x="238529" y="1336303"/>
                  </a:lnTo>
                  <a:lnTo>
                    <a:pt x="218980" y="1377442"/>
                  </a:lnTo>
                  <a:lnTo>
                    <a:pt x="200202" y="1419011"/>
                  </a:lnTo>
                  <a:lnTo>
                    <a:pt x="182202" y="1460999"/>
                  </a:lnTo>
                  <a:lnTo>
                    <a:pt x="164991" y="1503399"/>
                  </a:lnTo>
                  <a:lnTo>
                    <a:pt x="148577" y="1546201"/>
                  </a:lnTo>
                  <a:lnTo>
                    <a:pt x="132970" y="1589395"/>
                  </a:lnTo>
                  <a:lnTo>
                    <a:pt x="118179" y="1632973"/>
                  </a:lnTo>
                  <a:lnTo>
                    <a:pt x="104214" y="1676925"/>
                  </a:lnTo>
                  <a:lnTo>
                    <a:pt x="91082" y="1721243"/>
                  </a:lnTo>
                  <a:lnTo>
                    <a:pt x="78794" y="1765916"/>
                  </a:lnTo>
                  <a:lnTo>
                    <a:pt x="67359" y="1810936"/>
                  </a:lnTo>
                  <a:lnTo>
                    <a:pt x="56786" y="1856293"/>
                  </a:lnTo>
                  <a:lnTo>
                    <a:pt x="47084" y="1901979"/>
                  </a:lnTo>
                  <a:lnTo>
                    <a:pt x="38262" y="1947984"/>
                  </a:lnTo>
                  <a:lnTo>
                    <a:pt x="30330" y="1994299"/>
                  </a:lnTo>
                  <a:lnTo>
                    <a:pt x="23296" y="2040914"/>
                  </a:lnTo>
                  <a:lnTo>
                    <a:pt x="17171" y="2087821"/>
                  </a:lnTo>
                  <a:lnTo>
                    <a:pt x="11962" y="2135010"/>
                  </a:lnTo>
                  <a:lnTo>
                    <a:pt x="7680" y="2182473"/>
                  </a:lnTo>
                  <a:lnTo>
                    <a:pt x="4334" y="2230199"/>
                  </a:lnTo>
                  <a:lnTo>
                    <a:pt x="1932" y="2278180"/>
                  </a:lnTo>
                  <a:lnTo>
                    <a:pt x="484" y="2326407"/>
                  </a:lnTo>
                  <a:lnTo>
                    <a:pt x="0" y="2374870"/>
                  </a:lnTo>
                  <a:lnTo>
                    <a:pt x="0" y="5174502"/>
                  </a:lnTo>
                  <a:lnTo>
                    <a:pt x="4749740" y="5174502"/>
                  </a:lnTo>
                  <a:lnTo>
                    <a:pt x="4749740" y="2374870"/>
                  </a:lnTo>
                  <a:lnTo>
                    <a:pt x="4749255" y="2326407"/>
                  </a:lnTo>
                  <a:lnTo>
                    <a:pt x="4747807" y="2278180"/>
                  </a:lnTo>
                  <a:lnTo>
                    <a:pt x="4745406" y="2230199"/>
                  </a:lnTo>
                  <a:lnTo>
                    <a:pt x="4742059" y="2182473"/>
                  </a:lnTo>
                  <a:lnTo>
                    <a:pt x="4737777" y="2135010"/>
                  </a:lnTo>
                  <a:lnTo>
                    <a:pt x="4732569" y="2087821"/>
                  </a:lnTo>
                  <a:lnTo>
                    <a:pt x="4726443" y="2040914"/>
                  </a:lnTo>
                  <a:lnTo>
                    <a:pt x="4719410" y="1994299"/>
                  </a:lnTo>
                  <a:lnTo>
                    <a:pt x="4711477" y="1947984"/>
                  </a:lnTo>
                  <a:lnTo>
                    <a:pt x="4702656" y="1901979"/>
                  </a:lnTo>
                  <a:lnTo>
                    <a:pt x="4692953" y="1856293"/>
                  </a:lnTo>
                  <a:lnTo>
                    <a:pt x="4682380" y="1810936"/>
                  </a:lnTo>
                  <a:lnTo>
                    <a:pt x="4670945" y="1765916"/>
                  </a:lnTo>
                  <a:lnTo>
                    <a:pt x="4658657" y="1721243"/>
                  </a:lnTo>
                  <a:lnTo>
                    <a:pt x="4645525" y="1676925"/>
                  </a:lnTo>
                  <a:lnTo>
                    <a:pt x="4631560" y="1632973"/>
                  </a:lnTo>
                  <a:lnTo>
                    <a:pt x="4616769" y="1589395"/>
                  </a:lnTo>
                  <a:lnTo>
                    <a:pt x="4601162" y="1546201"/>
                  </a:lnTo>
                  <a:lnTo>
                    <a:pt x="4584748" y="1503399"/>
                  </a:lnTo>
                  <a:lnTo>
                    <a:pt x="4567537" y="1460999"/>
                  </a:lnTo>
                  <a:lnTo>
                    <a:pt x="4549537" y="1419011"/>
                  </a:lnTo>
                  <a:lnTo>
                    <a:pt x="4530758" y="1377442"/>
                  </a:lnTo>
                  <a:lnTo>
                    <a:pt x="4511210" y="1336303"/>
                  </a:lnTo>
                  <a:lnTo>
                    <a:pt x="4490900" y="1295603"/>
                  </a:lnTo>
                  <a:lnTo>
                    <a:pt x="4469839" y="1255351"/>
                  </a:lnTo>
                  <a:lnTo>
                    <a:pt x="4448036" y="1215556"/>
                  </a:lnTo>
                  <a:lnTo>
                    <a:pt x="4425500" y="1176227"/>
                  </a:lnTo>
                  <a:lnTo>
                    <a:pt x="4402239" y="1137374"/>
                  </a:lnTo>
                  <a:lnTo>
                    <a:pt x="4378264" y="1099006"/>
                  </a:lnTo>
                  <a:lnTo>
                    <a:pt x="4353584" y="1061131"/>
                  </a:lnTo>
                  <a:lnTo>
                    <a:pt x="4328207" y="1023760"/>
                  </a:lnTo>
                  <a:lnTo>
                    <a:pt x="4302143" y="986901"/>
                  </a:lnTo>
                  <a:lnTo>
                    <a:pt x="4275401" y="950563"/>
                  </a:lnTo>
                  <a:lnTo>
                    <a:pt x="4247990" y="914756"/>
                  </a:lnTo>
                  <a:lnTo>
                    <a:pt x="4219920" y="879489"/>
                  </a:lnTo>
                  <a:lnTo>
                    <a:pt x="4191199" y="844771"/>
                  </a:lnTo>
                  <a:lnTo>
                    <a:pt x="4161837" y="810612"/>
                  </a:lnTo>
                  <a:lnTo>
                    <a:pt x="4131843" y="777020"/>
                  </a:lnTo>
                  <a:lnTo>
                    <a:pt x="4101227" y="744004"/>
                  </a:lnTo>
                  <a:lnTo>
                    <a:pt x="4069997" y="711575"/>
                  </a:lnTo>
                  <a:lnTo>
                    <a:pt x="4038163" y="679741"/>
                  </a:lnTo>
                  <a:lnTo>
                    <a:pt x="4005733" y="648511"/>
                  </a:lnTo>
                  <a:lnTo>
                    <a:pt x="3972718" y="617895"/>
                  </a:lnTo>
                  <a:lnTo>
                    <a:pt x="3939126" y="587901"/>
                  </a:lnTo>
                  <a:lnTo>
                    <a:pt x="3904966" y="558539"/>
                  </a:lnTo>
                  <a:lnTo>
                    <a:pt x="3870248" y="529819"/>
                  </a:lnTo>
                  <a:lnTo>
                    <a:pt x="3834981" y="501749"/>
                  </a:lnTo>
                  <a:lnTo>
                    <a:pt x="3799174" y="474338"/>
                  </a:lnTo>
                  <a:lnTo>
                    <a:pt x="3762836" y="447596"/>
                  </a:lnTo>
                  <a:lnTo>
                    <a:pt x="3725977" y="421532"/>
                  </a:lnTo>
                  <a:lnTo>
                    <a:pt x="3688605" y="396155"/>
                  </a:lnTo>
                  <a:lnTo>
                    <a:pt x="3650731" y="371474"/>
                  </a:lnTo>
                  <a:lnTo>
                    <a:pt x="3612362" y="347499"/>
                  </a:lnTo>
                  <a:lnTo>
                    <a:pt x="3573509" y="324239"/>
                  </a:lnTo>
                  <a:lnTo>
                    <a:pt x="3534180" y="301703"/>
                  </a:lnTo>
                  <a:lnTo>
                    <a:pt x="3494385" y="279899"/>
                  </a:lnTo>
                  <a:lnTo>
                    <a:pt x="3454132" y="258839"/>
                  </a:lnTo>
                  <a:lnTo>
                    <a:pt x="3413432" y="238529"/>
                  </a:lnTo>
                  <a:lnTo>
                    <a:pt x="3372293" y="218981"/>
                  </a:lnTo>
                  <a:lnTo>
                    <a:pt x="3330724" y="200202"/>
                  </a:lnTo>
                  <a:lnTo>
                    <a:pt x="3288735" y="182202"/>
                  </a:lnTo>
                  <a:lnTo>
                    <a:pt x="3246335" y="164991"/>
                  </a:lnTo>
                  <a:lnTo>
                    <a:pt x="3203534" y="148577"/>
                  </a:lnTo>
                  <a:lnTo>
                    <a:pt x="3160339" y="132971"/>
                  </a:lnTo>
                  <a:lnTo>
                    <a:pt x="3116761" y="118180"/>
                  </a:lnTo>
                  <a:lnTo>
                    <a:pt x="3072808" y="104214"/>
                  </a:lnTo>
                  <a:lnTo>
                    <a:pt x="3028491" y="91082"/>
                  </a:lnTo>
                  <a:lnTo>
                    <a:pt x="2983817" y="78794"/>
                  </a:lnTo>
                  <a:lnTo>
                    <a:pt x="2938797" y="67359"/>
                  </a:lnTo>
                  <a:lnTo>
                    <a:pt x="2893439" y="56786"/>
                  </a:lnTo>
                  <a:lnTo>
                    <a:pt x="2847753" y="47084"/>
                  </a:lnTo>
                  <a:lnTo>
                    <a:pt x="2801748" y="38262"/>
                  </a:lnTo>
                  <a:lnTo>
                    <a:pt x="2755433" y="30330"/>
                  </a:lnTo>
                  <a:lnTo>
                    <a:pt x="2708817" y="23296"/>
                  </a:lnTo>
                  <a:lnTo>
                    <a:pt x="2661910" y="17171"/>
                  </a:lnTo>
                  <a:lnTo>
                    <a:pt x="2614720" y="11962"/>
                  </a:lnTo>
                  <a:lnTo>
                    <a:pt x="2567257" y="7680"/>
                  </a:lnTo>
                  <a:lnTo>
                    <a:pt x="2519531" y="4334"/>
                  </a:lnTo>
                  <a:lnTo>
                    <a:pt x="2471549" y="1932"/>
                  </a:lnTo>
                  <a:lnTo>
                    <a:pt x="2423322" y="484"/>
                  </a:lnTo>
                  <a:lnTo>
                    <a:pt x="2374859" y="0"/>
                  </a:lnTo>
                  <a:close/>
                </a:path>
              </a:pathLst>
            </a:custGeom>
            <a:solidFill>
              <a:srgbClr val="FFFFFF"/>
            </a:solidFill>
          </p:spPr>
          <p:txBody>
            <a:bodyPr wrap="square" lIns="0" tIns="0" rIns="0" bIns="0" rtlCol="0"/>
            <a:lstStyle/>
            <a:p>
              <a:endParaRPr/>
            </a:p>
          </p:txBody>
        </p:sp>
        <p:sp>
          <p:nvSpPr>
            <p:cNvPr id="10" name="object 5">
              <a:extLst>
                <a:ext uri="{FF2B5EF4-FFF2-40B4-BE49-F238E27FC236}">
                  <a16:creationId xmlns:a16="http://schemas.microsoft.com/office/drawing/2014/main" id="{91317554-AAE4-9B68-72CD-9CD39BA86770}"/>
                </a:ext>
              </a:extLst>
            </p:cNvPr>
            <p:cNvSpPr/>
            <p:nvPr/>
          </p:nvSpPr>
          <p:spPr>
            <a:xfrm>
              <a:off x="14540886" y="6222040"/>
              <a:ext cx="1826895" cy="1826895"/>
            </a:xfrm>
            <a:custGeom>
              <a:avLst/>
              <a:gdLst/>
              <a:ahLst/>
              <a:cxnLst/>
              <a:rect l="l" t="t" r="r" b="b"/>
              <a:pathLst>
                <a:path w="1826894" h="1826895">
                  <a:moveTo>
                    <a:pt x="1826823" y="0"/>
                  </a:moveTo>
                  <a:lnTo>
                    <a:pt x="0" y="0"/>
                  </a:lnTo>
                  <a:lnTo>
                    <a:pt x="0" y="1826823"/>
                  </a:lnTo>
                  <a:lnTo>
                    <a:pt x="1826823" y="1826823"/>
                  </a:lnTo>
                  <a:lnTo>
                    <a:pt x="1826823" y="0"/>
                  </a:lnTo>
                  <a:close/>
                </a:path>
              </a:pathLst>
            </a:custGeom>
            <a:solidFill>
              <a:srgbClr val="80BB80"/>
            </a:solidFill>
          </p:spPr>
          <p:txBody>
            <a:bodyPr wrap="square" lIns="0" tIns="0" rIns="0" bIns="0" rtlCol="0"/>
            <a:lstStyle/>
            <a:p>
              <a:endParaRPr/>
            </a:p>
          </p:txBody>
        </p:sp>
        <p:sp>
          <p:nvSpPr>
            <p:cNvPr id="11" name="object 7">
              <a:extLst>
                <a:ext uri="{FF2B5EF4-FFF2-40B4-BE49-F238E27FC236}">
                  <a16:creationId xmlns:a16="http://schemas.microsoft.com/office/drawing/2014/main" id="{E5A0BD46-CB38-FB5D-8A23-8CD15AE047D0}"/>
                </a:ext>
              </a:extLst>
            </p:cNvPr>
            <p:cNvSpPr/>
            <p:nvPr/>
          </p:nvSpPr>
          <p:spPr>
            <a:xfrm>
              <a:off x="16367721" y="5418243"/>
              <a:ext cx="1461770" cy="2630805"/>
            </a:xfrm>
            <a:custGeom>
              <a:avLst/>
              <a:gdLst/>
              <a:ahLst/>
              <a:cxnLst/>
              <a:rect l="l" t="t" r="r" b="b"/>
              <a:pathLst>
                <a:path w="1461769" h="2630804">
                  <a:moveTo>
                    <a:pt x="1461463" y="0"/>
                  </a:moveTo>
                  <a:lnTo>
                    <a:pt x="0" y="0"/>
                  </a:lnTo>
                  <a:lnTo>
                    <a:pt x="0" y="2630621"/>
                  </a:lnTo>
                  <a:lnTo>
                    <a:pt x="1461463" y="2630621"/>
                  </a:lnTo>
                  <a:lnTo>
                    <a:pt x="1461463" y="0"/>
                  </a:lnTo>
                  <a:close/>
                </a:path>
              </a:pathLst>
            </a:custGeom>
            <a:solidFill>
              <a:srgbClr val="ECCC4A"/>
            </a:solidFill>
          </p:spPr>
          <p:txBody>
            <a:bodyPr wrap="square" lIns="0" tIns="0" rIns="0" bIns="0" rtlCol="0"/>
            <a:lstStyle/>
            <a:p>
              <a:endParaRPr/>
            </a:p>
          </p:txBody>
        </p:sp>
        <p:sp>
          <p:nvSpPr>
            <p:cNvPr id="12" name="object 8">
              <a:extLst>
                <a:ext uri="{FF2B5EF4-FFF2-40B4-BE49-F238E27FC236}">
                  <a16:creationId xmlns:a16="http://schemas.microsoft.com/office/drawing/2014/main" id="{069DE6C0-B941-5789-3C2C-C763CFE4CF55}"/>
                </a:ext>
              </a:extLst>
            </p:cNvPr>
            <p:cNvSpPr/>
            <p:nvPr/>
          </p:nvSpPr>
          <p:spPr>
            <a:xfrm>
              <a:off x="16969346" y="6135426"/>
              <a:ext cx="258445" cy="1196340"/>
            </a:xfrm>
            <a:custGeom>
              <a:avLst/>
              <a:gdLst/>
              <a:ahLst/>
              <a:cxnLst/>
              <a:rect l="l" t="t" r="r" b="b"/>
              <a:pathLst>
                <a:path w="258444" h="1196340">
                  <a:moveTo>
                    <a:pt x="258191" y="1067168"/>
                  </a:moveTo>
                  <a:lnTo>
                    <a:pt x="248043" y="1016914"/>
                  </a:lnTo>
                  <a:lnTo>
                    <a:pt x="220370" y="975880"/>
                  </a:lnTo>
                  <a:lnTo>
                    <a:pt x="179336" y="948207"/>
                  </a:lnTo>
                  <a:lnTo>
                    <a:pt x="129095" y="938072"/>
                  </a:lnTo>
                  <a:lnTo>
                    <a:pt x="78841" y="948207"/>
                  </a:lnTo>
                  <a:lnTo>
                    <a:pt x="37807" y="975880"/>
                  </a:lnTo>
                  <a:lnTo>
                    <a:pt x="10147" y="1016914"/>
                  </a:lnTo>
                  <a:lnTo>
                    <a:pt x="0" y="1067168"/>
                  </a:lnTo>
                  <a:lnTo>
                    <a:pt x="10147" y="1117409"/>
                  </a:lnTo>
                  <a:lnTo>
                    <a:pt x="37807" y="1158443"/>
                  </a:lnTo>
                  <a:lnTo>
                    <a:pt x="78841" y="1186116"/>
                  </a:lnTo>
                  <a:lnTo>
                    <a:pt x="129095" y="1196263"/>
                  </a:lnTo>
                  <a:lnTo>
                    <a:pt x="179336" y="1186116"/>
                  </a:lnTo>
                  <a:lnTo>
                    <a:pt x="220370" y="1158443"/>
                  </a:lnTo>
                  <a:lnTo>
                    <a:pt x="248043" y="1117409"/>
                  </a:lnTo>
                  <a:lnTo>
                    <a:pt x="258191" y="1067168"/>
                  </a:lnTo>
                  <a:close/>
                </a:path>
                <a:path w="258444" h="1196340">
                  <a:moveTo>
                    <a:pt x="258191" y="598131"/>
                  </a:moveTo>
                  <a:lnTo>
                    <a:pt x="248043" y="547878"/>
                  </a:lnTo>
                  <a:lnTo>
                    <a:pt x="220370" y="506844"/>
                  </a:lnTo>
                  <a:lnTo>
                    <a:pt x="179336" y="479183"/>
                  </a:lnTo>
                  <a:lnTo>
                    <a:pt x="129095" y="469036"/>
                  </a:lnTo>
                  <a:lnTo>
                    <a:pt x="78841" y="479183"/>
                  </a:lnTo>
                  <a:lnTo>
                    <a:pt x="37807" y="506844"/>
                  </a:lnTo>
                  <a:lnTo>
                    <a:pt x="10147" y="547878"/>
                  </a:lnTo>
                  <a:lnTo>
                    <a:pt x="0" y="598131"/>
                  </a:lnTo>
                  <a:lnTo>
                    <a:pt x="10147" y="648373"/>
                  </a:lnTo>
                  <a:lnTo>
                    <a:pt x="37807" y="689406"/>
                  </a:lnTo>
                  <a:lnTo>
                    <a:pt x="78841" y="717067"/>
                  </a:lnTo>
                  <a:lnTo>
                    <a:pt x="129095" y="727214"/>
                  </a:lnTo>
                  <a:lnTo>
                    <a:pt x="179336" y="717067"/>
                  </a:lnTo>
                  <a:lnTo>
                    <a:pt x="220370" y="689406"/>
                  </a:lnTo>
                  <a:lnTo>
                    <a:pt x="248043" y="648373"/>
                  </a:lnTo>
                  <a:lnTo>
                    <a:pt x="258191" y="598131"/>
                  </a:lnTo>
                  <a:close/>
                </a:path>
                <a:path w="258444" h="1196340">
                  <a:moveTo>
                    <a:pt x="258191" y="129095"/>
                  </a:moveTo>
                  <a:lnTo>
                    <a:pt x="248043" y="78841"/>
                  </a:lnTo>
                  <a:lnTo>
                    <a:pt x="220370" y="37807"/>
                  </a:lnTo>
                  <a:lnTo>
                    <a:pt x="179336" y="10147"/>
                  </a:lnTo>
                  <a:lnTo>
                    <a:pt x="129095" y="0"/>
                  </a:lnTo>
                  <a:lnTo>
                    <a:pt x="78841" y="10147"/>
                  </a:lnTo>
                  <a:lnTo>
                    <a:pt x="37807" y="37807"/>
                  </a:lnTo>
                  <a:lnTo>
                    <a:pt x="10147" y="78841"/>
                  </a:lnTo>
                  <a:lnTo>
                    <a:pt x="0" y="129095"/>
                  </a:lnTo>
                  <a:lnTo>
                    <a:pt x="10147" y="179349"/>
                  </a:lnTo>
                  <a:lnTo>
                    <a:pt x="37807" y="220383"/>
                  </a:lnTo>
                  <a:lnTo>
                    <a:pt x="78841" y="248043"/>
                  </a:lnTo>
                  <a:lnTo>
                    <a:pt x="129095" y="258178"/>
                  </a:lnTo>
                  <a:lnTo>
                    <a:pt x="179336" y="248043"/>
                  </a:lnTo>
                  <a:lnTo>
                    <a:pt x="220370" y="220383"/>
                  </a:lnTo>
                  <a:lnTo>
                    <a:pt x="248043" y="179349"/>
                  </a:lnTo>
                  <a:lnTo>
                    <a:pt x="258191" y="129095"/>
                  </a:lnTo>
                  <a:close/>
                </a:path>
              </a:pathLst>
            </a:custGeom>
            <a:solidFill>
              <a:srgbClr val="FFFFFF"/>
            </a:solidFill>
          </p:spPr>
          <p:txBody>
            <a:bodyPr wrap="square" lIns="0" tIns="0" rIns="0" bIns="0" rtlCol="0"/>
            <a:lstStyle/>
            <a:p>
              <a:endParaRPr/>
            </a:p>
          </p:txBody>
        </p:sp>
        <p:sp>
          <p:nvSpPr>
            <p:cNvPr id="13" name="object 9">
              <a:extLst>
                <a:ext uri="{FF2B5EF4-FFF2-40B4-BE49-F238E27FC236}">
                  <a16:creationId xmlns:a16="http://schemas.microsoft.com/office/drawing/2014/main" id="{5663B71B-04A8-3F9D-A362-7774AA8DD83D}"/>
                </a:ext>
              </a:extLst>
            </p:cNvPr>
            <p:cNvSpPr/>
            <p:nvPr/>
          </p:nvSpPr>
          <p:spPr>
            <a:xfrm>
              <a:off x="14540889" y="4212533"/>
              <a:ext cx="1826895" cy="2009775"/>
            </a:xfrm>
            <a:custGeom>
              <a:avLst/>
              <a:gdLst/>
              <a:ahLst/>
              <a:cxnLst/>
              <a:rect l="l" t="t" r="r" b="b"/>
              <a:pathLst>
                <a:path w="1826894" h="2009775">
                  <a:moveTo>
                    <a:pt x="913417" y="0"/>
                  </a:moveTo>
                  <a:lnTo>
                    <a:pt x="864906" y="1266"/>
                  </a:lnTo>
                  <a:lnTo>
                    <a:pt x="817055" y="5022"/>
                  </a:lnTo>
                  <a:lnTo>
                    <a:pt x="769926" y="11205"/>
                  </a:lnTo>
                  <a:lnTo>
                    <a:pt x="723584" y="19752"/>
                  </a:lnTo>
                  <a:lnTo>
                    <a:pt x="678090" y="30600"/>
                  </a:lnTo>
                  <a:lnTo>
                    <a:pt x="633508" y="43686"/>
                  </a:lnTo>
                  <a:lnTo>
                    <a:pt x="589901" y="58946"/>
                  </a:lnTo>
                  <a:lnTo>
                    <a:pt x="547332" y="76318"/>
                  </a:lnTo>
                  <a:lnTo>
                    <a:pt x="505865" y="95737"/>
                  </a:lnTo>
                  <a:lnTo>
                    <a:pt x="465562" y="117142"/>
                  </a:lnTo>
                  <a:lnTo>
                    <a:pt x="426487" y="140469"/>
                  </a:lnTo>
                  <a:lnTo>
                    <a:pt x="388703" y="165655"/>
                  </a:lnTo>
                  <a:lnTo>
                    <a:pt x="352272" y="192636"/>
                  </a:lnTo>
                  <a:lnTo>
                    <a:pt x="317259" y="221350"/>
                  </a:lnTo>
                  <a:lnTo>
                    <a:pt x="283725" y="251734"/>
                  </a:lnTo>
                  <a:lnTo>
                    <a:pt x="251735" y="283724"/>
                  </a:lnTo>
                  <a:lnTo>
                    <a:pt x="221351" y="317257"/>
                  </a:lnTo>
                  <a:lnTo>
                    <a:pt x="192637" y="352270"/>
                  </a:lnTo>
                  <a:lnTo>
                    <a:pt x="165655" y="388700"/>
                  </a:lnTo>
                  <a:lnTo>
                    <a:pt x="140470" y="426484"/>
                  </a:lnTo>
                  <a:lnTo>
                    <a:pt x="117143" y="465559"/>
                  </a:lnTo>
                  <a:lnTo>
                    <a:pt x="95738" y="505861"/>
                  </a:lnTo>
                  <a:lnTo>
                    <a:pt x="76318" y="547328"/>
                  </a:lnTo>
                  <a:lnTo>
                    <a:pt x="58946" y="589896"/>
                  </a:lnTo>
                  <a:lnTo>
                    <a:pt x="43686" y="633502"/>
                  </a:lnTo>
                  <a:lnTo>
                    <a:pt x="30600" y="678083"/>
                  </a:lnTo>
                  <a:lnTo>
                    <a:pt x="19752" y="723577"/>
                  </a:lnTo>
                  <a:lnTo>
                    <a:pt x="11205" y="769919"/>
                  </a:lnTo>
                  <a:lnTo>
                    <a:pt x="5022" y="817046"/>
                  </a:lnTo>
                  <a:lnTo>
                    <a:pt x="1266" y="864897"/>
                  </a:lnTo>
                  <a:lnTo>
                    <a:pt x="0" y="913406"/>
                  </a:lnTo>
                  <a:lnTo>
                    <a:pt x="0" y="2009509"/>
                  </a:lnTo>
                  <a:lnTo>
                    <a:pt x="1826823" y="2009509"/>
                  </a:lnTo>
                  <a:lnTo>
                    <a:pt x="1826823" y="913406"/>
                  </a:lnTo>
                  <a:lnTo>
                    <a:pt x="1825557" y="864897"/>
                  </a:lnTo>
                  <a:lnTo>
                    <a:pt x="1821801" y="817046"/>
                  </a:lnTo>
                  <a:lnTo>
                    <a:pt x="1815618" y="769919"/>
                  </a:lnTo>
                  <a:lnTo>
                    <a:pt x="1807071" y="723577"/>
                  </a:lnTo>
                  <a:lnTo>
                    <a:pt x="1796223" y="678083"/>
                  </a:lnTo>
                  <a:lnTo>
                    <a:pt x="1783137" y="633502"/>
                  </a:lnTo>
                  <a:lnTo>
                    <a:pt x="1767877" y="589896"/>
                  </a:lnTo>
                  <a:lnTo>
                    <a:pt x="1750505" y="547328"/>
                  </a:lnTo>
                  <a:lnTo>
                    <a:pt x="1731086" y="505861"/>
                  </a:lnTo>
                  <a:lnTo>
                    <a:pt x="1709681" y="465559"/>
                  </a:lnTo>
                  <a:lnTo>
                    <a:pt x="1686354" y="426484"/>
                  </a:lnTo>
                  <a:lnTo>
                    <a:pt x="1661168" y="388700"/>
                  </a:lnTo>
                  <a:lnTo>
                    <a:pt x="1634187" y="352270"/>
                  </a:lnTo>
                  <a:lnTo>
                    <a:pt x="1605473" y="317257"/>
                  </a:lnTo>
                  <a:lnTo>
                    <a:pt x="1575089" y="283724"/>
                  </a:lnTo>
                  <a:lnTo>
                    <a:pt x="1543099" y="251734"/>
                  </a:lnTo>
                  <a:lnTo>
                    <a:pt x="1509566" y="221350"/>
                  </a:lnTo>
                  <a:lnTo>
                    <a:pt x="1474553" y="192636"/>
                  </a:lnTo>
                  <a:lnTo>
                    <a:pt x="1438123" y="165655"/>
                  </a:lnTo>
                  <a:lnTo>
                    <a:pt x="1400339" y="140469"/>
                  </a:lnTo>
                  <a:lnTo>
                    <a:pt x="1361264" y="117142"/>
                  </a:lnTo>
                  <a:lnTo>
                    <a:pt x="1320962" y="95737"/>
                  </a:lnTo>
                  <a:lnTo>
                    <a:pt x="1279495" y="76318"/>
                  </a:lnTo>
                  <a:lnTo>
                    <a:pt x="1236927" y="58946"/>
                  </a:lnTo>
                  <a:lnTo>
                    <a:pt x="1193321" y="43686"/>
                  </a:lnTo>
                  <a:lnTo>
                    <a:pt x="1148740" y="30600"/>
                  </a:lnTo>
                  <a:lnTo>
                    <a:pt x="1103246" y="19752"/>
                  </a:lnTo>
                  <a:lnTo>
                    <a:pt x="1056904" y="11205"/>
                  </a:lnTo>
                  <a:lnTo>
                    <a:pt x="1009777" y="5022"/>
                  </a:lnTo>
                  <a:lnTo>
                    <a:pt x="961926" y="1266"/>
                  </a:lnTo>
                  <a:lnTo>
                    <a:pt x="913417" y="0"/>
                  </a:lnTo>
                  <a:close/>
                </a:path>
              </a:pathLst>
            </a:custGeom>
            <a:solidFill>
              <a:srgbClr val="DD5A2D"/>
            </a:solidFill>
          </p:spPr>
          <p:txBody>
            <a:bodyPr wrap="square" lIns="0" tIns="0" rIns="0" bIns="0" rtlCol="0"/>
            <a:lstStyle/>
            <a:p>
              <a:endParaRPr/>
            </a:p>
          </p:txBody>
        </p:sp>
        <p:sp>
          <p:nvSpPr>
            <p:cNvPr id="14" name="object 10">
              <a:extLst>
                <a:ext uri="{FF2B5EF4-FFF2-40B4-BE49-F238E27FC236}">
                  <a16:creationId xmlns:a16="http://schemas.microsoft.com/office/drawing/2014/main" id="{0075F500-0233-F4CA-E030-CA6DDAAA1E8F}"/>
                </a:ext>
              </a:extLst>
            </p:cNvPr>
            <p:cNvSpPr/>
            <p:nvPr/>
          </p:nvSpPr>
          <p:spPr>
            <a:xfrm>
              <a:off x="14961824" y="4839168"/>
              <a:ext cx="986155" cy="833755"/>
            </a:xfrm>
            <a:custGeom>
              <a:avLst/>
              <a:gdLst/>
              <a:ahLst/>
              <a:cxnLst/>
              <a:rect l="l" t="t" r="r" b="b"/>
              <a:pathLst>
                <a:path w="986155" h="833754">
                  <a:moveTo>
                    <a:pt x="730397" y="0"/>
                  </a:moveTo>
                  <a:lnTo>
                    <a:pt x="680601" y="5544"/>
                  </a:lnTo>
                  <a:lnTo>
                    <a:pt x="636668" y="19628"/>
                  </a:lnTo>
                  <a:lnTo>
                    <a:pt x="601185" y="40755"/>
                  </a:lnTo>
                  <a:lnTo>
                    <a:pt x="571335" y="68208"/>
                  </a:lnTo>
                  <a:lnTo>
                    <a:pt x="544300" y="101271"/>
                  </a:lnTo>
                  <a:lnTo>
                    <a:pt x="487403" y="181361"/>
                  </a:lnTo>
                  <a:lnTo>
                    <a:pt x="447052" y="154201"/>
                  </a:lnTo>
                  <a:lnTo>
                    <a:pt x="403333" y="131614"/>
                  </a:lnTo>
                  <a:lnTo>
                    <a:pt x="357055" y="114143"/>
                  </a:lnTo>
                  <a:lnTo>
                    <a:pt x="309025" y="102332"/>
                  </a:lnTo>
                  <a:lnTo>
                    <a:pt x="260049" y="96724"/>
                  </a:lnTo>
                  <a:lnTo>
                    <a:pt x="210656" y="98729"/>
                  </a:lnTo>
                  <a:lnTo>
                    <a:pt x="162245" y="109287"/>
                  </a:lnTo>
                  <a:lnTo>
                    <a:pt x="116929" y="128222"/>
                  </a:lnTo>
                  <a:lnTo>
                    <a:pt x="76821" y="155356"/>
                  </a:lnTo>
                  <a:lnTo>
                    <a:pt x="44034" y="190512"/>
                  </a:lnTo>
                  <a:lnTo>
                    <a:pt x="21945" y="230130"/>
                  </a:lnTo>
                  <a:lnTo>
                    <a:pt x="7218" y="275965"/>
                  </a:lnTo>
                  <a:lnTo>
                    <a:pt x="0" y="324641"/>
                  </a:lnTo>
                  <a:lnTo>
                    <a:pt x="436" y="372781"/>
                  </a:lnTo>
                  <a:lnTo>
                    <a:pt x="8674" y="417008"/>
                  </a:lnTo>
                  <a:lnTo>
                    <a:pt x="28086" y="466796"/>
                  </a:lnTo>
                  <a:lnTo>
                    <a:pt x="54792" y="513361"/>
                  </a:lnTo>
                  <a:lnTo>
                    <a:pt x="87158" y="556792"/>
                  </a:lnTo>
                  <a:lnTo>
                    <a:pt x="123550" y="597180"/>
                  </a:lnTo>
                  <a:lnTo>
                    <a:pt x="162394" y="633881"/>
                  </a:lnTo>
                  <a:lnTo>
                    <a:pt x="204473" y="667836"/>
                  </a:lnTo>
                  <a:lnTo>
                    <a:pt x="249216" y="698943"/>
                  </a:lnTo>
                  <a:lnTo>
                    <a:pt x="296050" y="727098"/>
                  </a:lnTo>
                  <a:lnTo>
                    <a:pt x="344403" y="752197"/>
                  </a:lnTo>
                  <a:lnTo>
                    <a:pt x="393703" y="774137"/>
                  </a:lnTo>
                  <a:lnTo>
                    <a:pt x="443378" y="792814"/>
                  </a:lnTo>
                  <a:lnTo>
                    <a:pt x="492856" y="808125"/>
                  </a:lnTo>
                  <a:lnTo>
                    <a:pt x="541565" y="819966"/>
                  </a:lnTo>
                  <a:lnTo>
                    <a:pt x="588932" y="828234"/>
                  </a:lnTo>
                  <a:lnTo>
                    <a:pt x="634387" y="832824"/>
                  </a:lnTo>
                  <a:lnTo>
                    <a:pt x="677355" y="833634"/>
                  </a:lnTo>
                  <a:lnTo>
                    <a:pt x="716840" y="798110"/>
                  </a:lnTo>
                  <a:lnTo>
                    <a:pt x="752682" y="762783"/>
                  </a:lnTo>
                  <a:lnTo>
                    <a:pt x="785193" y="727295"/>
                  </a:lnTo>
                  <a:lnTo>
                    <a:pt x="814687" y="691288"/>
                  </a:lnTo>
                  <a:lnTo>
                    <a:pt x="841476" y="654406"/>
                  </a:lnTo>
                  <a:lnTo>
                    <a:pt x="865874" y="616291"/>
                  </a:lnTo>
                  <a:lnTo>
                    <a:pt x="888194" y="576585"/>
                  </a:lnTo>
                  <a:lnTo>
                    <a:pt x="908750" y="534931"/>
                  </a:lnTo>
                  <a:lnTo>
                    <a:pt x="927853" y="490971"/>
                  </a:lnTo>
                  <a:lnTo>
                    <a:pt x="945818" y="444347"/>
                  </a:lnTo>
                  <a:lnTo>
                    <a:pt x="962060" y="395319"/>
                  </a:lnTo>
                  <a:lnTo>
                    <a:pt x="974988" y="344809"/>
                  </a:lnTo>
                  <a:lnTo>
                    <a:pt x="983287" y="293747"/>
                  </a:lnTo>
                  <a:lnTo>
                    <a:pt x="985645" y="243065"/>
                  </a:lnTo>
                  <a:lnTo>
                    <a:pt x="980746" y="193696"/>
                  </a:lnTo>
                  <a:lnTo>
                    <a:pt x="967277" y="146570"/>
                  </a:lnTo>
                  <a:lnTo>
                    <a:pt x="943923" y="102620"/>
                  </a:lnTo>
                  <a:lnTo>
                    <a:pt x="912211" y="66150"/>
                  </a:lnTo>
                  <a:lnTo>
                    <a:pt x="873123" y="37223"/>
                  </a:lnTo>
                  <a:lnTo>
                    <a:pt x="828538" y="16269"/>
                  </a:lnTo>
                  <a:lnTo>
                    <a:pt x="780336" y="3718"/>
                  </a:lnTo>
                  <a:lnTo>
                    <a:pt x="730397" y="0"/>
                  </a:lnTo>
                  <a:close/>
                </a:path>
              </a:pathLst>
            </a:custGeom>
            <a:solidFill>
              <a:srgbClr val="FFFFFF"/>
            </a:solidFill>
          </p:spPr>
          <p:txBody>
            <a:bodyPr wrap="square" lIns="0" tIns="0" rIns="0" bIns="0" rtlCol="0"/>
            <a:lstStyle/>
            <a:p>
              <a:endParaRPr/>
            </a:p>
          </p:txBody>
        </p:sp>
        <p:sp>
          <p:nvSpPr>
            <p:cNvPr id="15" name="object 11">
              <a:extLst>
                <a:ext uri="{FF2B5EF4-FFF2-40B4-BE49-F238E27FC236}">
                  <a16:creationId xmlns:a16="http://schemas.microsoft.com/office/drawing/2014/main" id="{3AC94A22-9C94-9BC2-4751-7FF3B6777CF5}"/>
                </a:ext>
              </a:extLst>
            </p:cNvPr>
            <p:cNvSpPr/>
            <p:nvPr/>
          </p:nvSpPr>
          <p:spPr>
            <a:xfrm>
              <a:off x="16046664" y="6036614"/>
              <a:ext cx="321310" cy="371475"/>
            </a:xfrm>
            <a:custGeom>
              <a:avLst/>
              <a:gdLst/>
              <a:ahLst/>
              <a:cxnLst/>
              <a:rect l="l" t="t" r="r" b="b"/>
              <a:pathLst>
                <a:path w="321309" h="371475">
                  <a:moveTo>
                    <a:pt x="321162" y="0"/>
                  </a:moveTo>
                  <a:lnTo>
                    <a:pt x="0" y="185428"/>
                  </a:lnTo>
                  <a:lnTo>
                    <a:pt x="321162" y="370847"/>
                  </a:lnTo>
                  <a:lnTo>
                    <a:pt x="321162" y="0"/>
                  </a:lnTo>
                  <a:close/>
                </a:path>
              </a:pathLst>
            </a:custGeom>
            <a:solidFill>
              <a:srgbClr val="ECCC4A"/>
            </a:solidFill>
          </p:spPr>
          <p:txBody>
            <a:bodyPr wrap="square" lIns="0" tIns="0" rIns="0" bIns="0" rtlCol="0"/>
            <a:lstStyle/>
            <a:p>
              <a:pPr algn="l" rtl="0"/>
              <a:endParaRPr/>
            </a:p>
          </p:txBody>
        </p:sp>
      </p:grpSp>
      <p:sp>
        <p:nvSpPr>
          <p:cNvPr id="16" name="object 13">
            <a:extLst>
              <a:ext uri="{FF2B5EF4-FFF2-40B4-BE49-F238E27FC236}">
                <a16:creationId xmlns:a16="http://schemas.microsoft.com/office/drawing/2014/main" id="{9FC8128F-A22D-08C7-D992-32EB6008A39F}"/>
              </a:ext>
            </a:extLst>
          </p:cNvPr>
          <p:cNvSpPr txBox="1">
            <a:spLocks noGrp="1"/>
          </p:cNvSpPr>
          <p:nvPr>
            <p:ph type="title"/>
          </p:nvPr>
        </p:nvSpPr>
        <p:spPr>
          <a:xfrm>
            <a:off x="813242" y="4299387"/>
            <a:ext cx="8264859" cy="1905000"/>
          </a:xfrm>
          <a:prstGeom prst="rect">
            <a:avLst/>
          </a:prstGeom>
        </p:spPr>
        <p:txBody>
          <a:bodyPr vert="horz" wrap="square" lIns="0" tIns="91440" rIns="0" bIns="0" rtlCol="0">
            <a:spAutoFit/>
          </a:bodyPr>
          <a:lstStyle>
            <a:lvl1pPr>
              <a:defRPr b="1">
                <a:solidFill>
                  <a:srgbClr val="002060"/>
                </a:solidFill>
                <a:latin typeface="Tahoma" panose="020B0604030504040204" pitchFamily="34" charset="0"/>
                <a:ea typeface="Tahoma" panose="020B0604030504040204" pitchFamily="34" charset="0"/>
                <a:cs typeface="Tahoma" panose="020B0604030504040204" pitchFamily="34" charset="0"/>
              </a:defRPr>
            </a:lvl1pPr>
          </a:lstStyle>
          <a:p>
            <a:pPr marL="12700">
              <a:lnSpc>
                <a:spcPct val="100000"/>
              </a:lnSpc>
              <a:spcBef>
                <a:spcPts val="720"/>
              </a:spcBef>
            </a:pPr>
            <a:r>
              <a:rPr sz="6400" spc="-140">
                <a:solidFill>
                  <a:srgbClr val="231E1F"/>
                </a:solidFill>
              </a:rPr>
              <a:t>Presentation</a:t>
            </a:r>
            <a:r>
              <a:rPr sz="6400" spc="-290">
                <a:solidFill>
                  <a:srgbClr val="231E1F"/>
                </a:solidFill>
              </a:rPr>
              <a:t> </a:t>
            </a:r>
            <a:r>
              <a:rPr sz="6400" spc="-110">
                <a:solidFill>
                  <a:srgbClr val="231E1F"/>
                </a:solidFill>
              </a:rPr>
              <a:t>title</a:t>
            </a:r>
            <a:endParaRPr sz="6400"/>
          </a:p>
          <a:p>
            <a:pPr marL="58419">
              <a:lnSpc>
                <a:spcPct val="100000"/>
              </a:lnSpc>
              <a:spcBef>
                <a:spcPts val="495"/>
              </a:spcBef>
            </a:pPr>
            <a:r>
              <a:rPr sz="5000" b="0">
                <a:solidFill>
                  <a:srgbClr val="231E1F"/>
                </a:solidFill>
                <a:latin typeface="Nexa Book"/>
                <a:cs typeface="Nexa Book"/>
              </a:rPr>
              <a:t>subtitle</a:t>
            </a:r>
            <a:r>
              <a:rPr sz="5000" b="0" spc="-35">
                <a:solidFill>
                  <a:srgbClr val="231E1F"/>
                </a:solidFill>
                <a:latin typeface="Nexa Book"/>
                <a:cs typeface="Nexa Book"/>
              </a:rPr>
              <a:t> </a:t>
            </a:r>
            <a:r>
              <a:rPr sz="5000" b="0">
                <a:solidFill>
                  <a:srgbClr val="231E1F"/>
                </a:solidFill>
                <a:latin typeface="Nexa Book"/>
                <a:cs typeface="Nexa Book"/>
              </a:rPr>
              <a:t>goes</a:t>
            </a:r>
            <a:r>
              <a:rPr sz="5000" b="0" spc="-30">
                <a:solidFill>
                  <a:srgbClr val="231E1F"/>
                </a:solidFill>
                <a:latin typeface="Nexa Book"/>
                <a:cs typeface="Nexa Book"/>
              </a:rPr>
              <a:t> </a:t>
            </a:r>
            <a:r>
              <a:rPr sz="5000" b="0" spc="-20">
                <a:solidFill>
                  <a:srgbClr val="231E1F"/>
                </a:solidFill>
                <a:latin typeface="Nexa Book"/>
                <a:cs typeface="Nexa Book"/>
              </a:rPr>
              <a:t>here</a:t>
            </a:r>
            <a:endParaRPr sz="5000">
              <a:latin typeface="Nexa Book"/>
              <a:cs typeface="Nexa Book"/>
            </a:endParaRPr>
          </a:p>
        </p:txBody>
      </p:sp>
      <p:grpSp>
        <p:nvGrpSpPr>
          <p:cNvPr id="48" name="Group 47">
            <a:extLst>
              <a:ext uri="{FF2B5EF4-FFF2-40B4-BE49-F238E27FC236}">
                <a16:creationId xmlns:a16="http://schemas.microsoft.com/office/drawing/2014/main" id="{AAF3AAAD-0AD4-FCAB-FF52-38EABEA3A48B}"/>
              </a:ext>
            </a:extLst>
          </p:cNvPr>
          <p:cNvGrpSpPr/>
          <p:nvPr userDrawn="1"/>
        </p:nvGrpSpPr>
        <p:grpSpPr>
          <a:xfrm>
            <a:off x="854755" y="1007583"/>
            <a:ext cx="2901397" cy="1343660"/>
            <a:chOff x="854755" y="1007583"/>
            <a:chExt cx="2901397" cy="1343660"/>
          </a:xfrm>
        </p:grpSpPr>
        <p:grpSp>
          <p:nvGrpSpPr>
            <p:cNvPr id="25" name="object 22">
              <a:extLst>
                <a:ext uri="{FF2B5EF4-FFF2-40B4-BE49-F238E27FC236}">
                  <a16:creationId xmlns:a16="http://schemas.microsoft.com/office/drawing/2014/main" id="{3EE5059A-44BE-48D9-3219-709755EE3E6B}"/>
                </a:ext>
              </a:extLst>
            </p:cNvPr>
            <p:cNvGrpSpPr/>
            <p:nvPr userDrawn="1"/>
          </p:nvGrpSpPr>
          <p:grpSpPr>
            <a:xfrm>
              <a:off x="854755" y="1007583"/>
              <a:ext cx="1256030" cy="1343660"/>
              <a:chOff x="854755" y="1007583"/>
              <a:chExt cx="1256030" cy="1343660"/>
            </a:xfrm>
          </p:grpSpPr>
          <p:sp>
            <p:nvSpPr>
              <p:cNvPr id="26" name="object 23">
                <a:extLst>
                  <a:ext uri="{FF2B5EF4-FFF2-40B4-BE49-F238E27FC236}">
                    <a16:creationId xmlns:a16="http://schemas.microsoft.com/office/drawing/2014/main" id="{D298A8BB-E6D1-6BE4-1110-8C5DF441531D}"/>
                  </a:ext>
                </a:extLst>
              </p:cNvPr>
              <p:cNvSpPr/>
              <p:nvPr/>
            </p:nvSpPr>
            <p:spPr>
              <a:xfrm>
                <a:off x="854755" y="1007583"/>
                <a:ext cx="1256030" cy="1343660"/>
              </a:xfrm>
              <a:custGeom>
                <a:avLst/>
                <a:gdLst/>
                <a:ahLst/>
                <a:cxnLst/>
                <a:rect l="l" t="t" r="r" b="b"/>
                <a:pathLst>
                  <a:path w="1256030" h="1343660">
                    <a:moveTo>
                      <a:pt x="627991" y="0"/>
                    </a:moveTo>
                    <a:lnTo>
                      <a:pt x="578914" y="1889"/>
                    </a:lnTo>
                    <a:lnTo>
                      <a:pt x="530870" y="7464"/>
                    </a:lnTo>
                    <a:lnTo>
                      <a:pt x="483999" y="16585"/>
                    </a:lnTo>
                    <a:lnTo>
                      <a:pt x="438440" y="29112"/>
                    </a:lnTo>
                    <a:lnTo>
                      <a:pt x="394333" y="44906"/>
                    </a:lnTo>
                    <a:lnTo>
                      <a:pt x="351817" y="63828"/>
                    </a:lnTo>
                    <a:lnTo>
                      <a:pt x="311033" y="85737"/>
                    </a:lnTo>
                    <a:lnTo>
                      <a:pt x="272119" y="110494"/>
                    </a:lnTo>
                    <a:lnTo>
                      <a:pt x="235216" y="137960"/>
                    </a:lnTo>
                    <a:lnTo>
                      <a:pt x="200462" y="167994"/>
                    </a:lnTo>
                    <a:lnTo>
                      <a:pt x="167998" y="200458"/>
                    </a:lnTo>
                    <a:lnTo>
                      <a:pt x="137963" y="235211"/>
                    </a:lnTo>
                    <a:lnTo>
                      <a:pt x="110497" y="272114"/>
                    </a:lnTo>
                    <a:lnTo>
                      <a:pt x="85739" y="311028"/>
                    </a:lnTo>
                    <a:lnTo>
                      <a:pt x="63830" y="351813"/>
                    </a:lnTo>
                    <a:lnTo>
                      <a:pt x="44908" y="394329"/>
                    </a:lnTo>
                    <a:lnTo>
                      <a:pt x="29113" y="438436"/>
                    </a:lnTo>
                    <a:lnTo>
                      <a:pt x="16585" y="483996"/>
                    </a:lnTo>
                    <a:lnTo>
                      <a:pt x="7464" y="530868"/>
                    </a:lnTo>
                    <a:lnTo>
                      <a:pt x="1889" y="578913"/>
                    </a:lnTo>
                    <a:lnTo>
                      <a:pt x="0" y="627991"/>
                    </a:lnTo>
                    <a:lnTo>
                      <a:pt x="0" y="1343299"/>
                    </a:lnTo>
                    <a:lnTo>
                      <a:pt x="386668" y="1343299"/>
                    </a:lnTo>
                    <a:lnTo>
                      <a:pt x="386689" y="571322"/>
                    </a:lnTo>
                    <a:lnTo>
                      <a:pt x="391636" y="522254"/>
                    </a:lnTo>
                    <a:lnTo>
                      <a:pt x="405822" y="476552"/>
                    </a:lnTo>
                    <a:lnTo>
                      <a:pt x="428269" y="435195"/>
                    </a:lnTo>
                    <a:lnTo>
                      <a:pt x="457999" y="399163"/>
                    </a:lnTo>
                    <a:lnTo>
                      <a:pt x="494031" y="369433"/>
                    </a:lnTo>
                    <a:lnTo>
                      <a:pt x="535388" y="346986"/>
                    </a:lnTo>
                    <a:lnTo>
                      <a:pt x="581090" y="332800"/>
                    </a:lnTo>
                    <a:lnTo>
                      <a:pt x="630158" y="327853"/>
                    </a:lnTo>
                    <a:lnTo>
                      <a:pt x="679227" y="332800"/>
                    </a:lnTo>
                    <a:lnTo>
                      <a:pt x="724929" y="346986"/>
                    </a:lnTo>
                    <a:lnTo>
                      <a:pt x="766285" y="369433"/>
                    </a:lnTo>
                    <a:lnTo>
                      <a:pt x="802318" y="399163"/>
                    </a:lnTo>
                    <a:lnTo>
                      <a:pt x="832047" y="435195"/>
                    </a:lnTo>
                    <a:lnTo>
                      <a:pt x="854495" y="476552"/>
                    </a:lnTo>
                    <a:lnTo>
                      <a:pt x="868681" y="522254"/>
                    </a:lnTo>
                    <a:lnTo>
                      <a:pt x="873627" y="571322"/>
                    </a:lnTo>
                    <a:lnTo>
                      <a:pt x="873627" y="657058"/>
                    </a:lnTo>
                    <a:lnTo>
                      <a:pt x="1255323" y="657058"/>
                    </a:lnTo>
                    <a:lnTo>
                      <a:pt x="1255323" y="1342650"/>
                    </a:lnTo>
                    <a:lnTo>
                      <a:pt x="871177" y="1342650"/>
                    </a:lnTo>
                    <a:lnTo>
                      <a:pt x="871177" y="1343299"/>
                    </a:lnTo>
                    <a:lnTo>
                      <a:pt x="1255982" y="1343299"/>
                    </a:lnTo>
                    <a:lnTo>
                      <a:pt x="1255982" y="627991"/>
                    </a:lnTo>
                    <a:lnTo>
                      <a:pt x="1254093" y="578913"/>
                    </a:lnTo>
                    <a:lnTo>
                      <a:pt x="1248518" y="530868"/>
                    </a:lnTo>
                    <a:lnTo>
                      <a:pt x="1239396" y="483996"/>
                    </a:lnTo>
                    <a:lnTo>
                      <a:pt x="1226869" y="438436"/>
                    </a:lnTo>
                    <a:lnTo>
                      <a:pt x="1211074" y="394329"/>
                    </a:lnTo>
                    <a:lnTo>
                      <a:pt x="1192152" y="351813"/>
                    </a:lnTo>
                    <a:lnTo>
                      <a:pt x="1170242" y="311028"/>
                    </a:lnTo>
                    <a:lnTo>
                      <a:pt x="1145485" y="272114"/>
                    </a:lnTo>
                    <a:lnTo>
                      <a:pt x="1118019" y="235211"/>
                    </a:lnTo>
                    <a:lnTo>
                      <a:pt x="1087984" y="200458"/>
                    </a:lnTo>
                    <a:lnTo>
                      <a:pt x="1055520" y="167994"/>
                    </a:lnTo>
                    <a:lnTo>
                      <a:pt x="1020766" y="137960"/>
                    </a:lnTo>
                    <a:lnTo>
                      <a:pt x="983863" y="110494"/>
                    </a:lnTo>
                    <a:lnTo>
                      <a:pt x="944949" y="85737"/>
                    </a:lnTo>
                    <a:lnTo>
                      <a:pt x="904164" y="63828"/>
                    </a:lnTo>
                    <a:lnTo>
                      <a:pt x="861649" y="44906"/>
                    </a:lnTo>
                    <a:lnTo>
                      <a:pt x="817542" y="29112"/>
                    </a:lnTo>
                    <a:lnTo>
                      <a:pt x="771983" y="16585"/>
                    </a:lnTo>
                    <a:lnTo>
                      <a:pt x="725111" y="7464"/>
                    </a:lnTo>
                    <a:lnTo>
                      <a:pt x="677068" y="1889"/>
                    </a:lnTo>
                    <a:lnTo>
                      <a:pt x="627991" y="0"/>
                    </a:lnTo>
                    <a:close/>
                  </a:path>
                </a:pathLst>
              </a:custGeom>
              <a:solidFill>
                <a:srgbClr val="E49487"/>
              </a:solidFill>
            </p:spPr>
            <p:txBody>
              <a:bodyPr wrap="square" lIns="0" tIns="0" rIns="0" bIns="0" rtlCol="0"/>
              <a:lstStyle/>
              <a:p>
                <a:endParaRPr/>
              </a:p>
            </p:txBody>
          </p:sp>
          <p:sp>
            <p:nvSpPr>
              <p:cNvPr id="27" name="object 24">
                <a:extLst>
                  <a:ext uri="{FF2B5EF4-FFF2-40B4-BE49-F238E27FC236}">
                    <a16:creationId xmlns:a16="http://schemas.microsoft.com/office/drawing/2014/main" id="{29E820CD-749F-1619-5037-67A90C320DD4}"/>
                  </a:ext>
                </a:extLst>
              </p:cNvPr>
              <p:cNvSpPr/>
              <p:nvPr/>
            </p:nvSpPr>
            <p:spPr>
              <a:xfrm>
                <a:off x="1241444" y="1335434"/>
                <a:ext cx="487045" cy="531495"/>
              </a:xfrm>
              <a:custGeom>
                <a:avLst/>
                <a:gdLst/>
                <a:ahLst/>
                <a:cxnLst/>
                <a:rect l="l" t="t" r="r" b="b"/>
                <a:pathLst>
                  <a:path w="487044" h="531494">
                    <a:moveTo>
                      <a:pt x="243469" y="0"/>
                    </a:moveTo>
                    <a:lnTo>
                      <a:pt x="194400" y="4946"/>
                    </a:lnTo>
                    <a:lnTo>
                      <a:pt x="148698" y="19132"/>
                    </a:lnTo>
                    <a:lnTo>
                      <a:pt x="107341" y="41580"/>
                    </a:lnTo>
                    <a:lnTo>
                      <a:pt x="71309" y="71310"/>
                    </a:lnTo>
                    <a:lnTo>
                      <a:pt x="41579" y="107344"/>
                    </a:lnTo>
                    <a:lnTo>
                      <a:pt x="19132" y="148703"/>
                    </a:lnTo>
                    <a:lnTo>
                      <a:pt x="4946" y="194407"/>
                    </a:lnTo>
                    <a:lnTo>
                      <a:pt x="0" y="243479"/>
                    </a:lnTo>
                    <a:lnTo>
                      <a:pt x="0" y="530947"/>
                    </a:lnTo>
                    <a:lnTo>
                      <a:pt x="368952" y="530947"/>
                    </a:lnTo>
                    <a:lnTo>
                      <a:pt x="486938" y="461430"/>
                    </a:lnTo>
                    <a:lnTo>
                      <a:pt x="486938" y="426615"/>
                    </a:lnTo>
                    <a:lnTo>
                      <a:pt x="287111" y="426615"/>
                    </a:lnTo>
                    <a:lnTo>
                      <a:pt x="253518" y="423236"/>
                    </a:lnTo>
                    <a:lnTo>
                      <a:pt x="216937" y="411897"/>
                    </a:lnTo>
                    <a:lnTo>
                      <a:pt x="181189" y="393291"/>
                    </a:lnTo>
                    <a:lnTo>
                      <a:pt x="150100" y="368114"/>
                    </a:lnTo>
                    <a:lnTo>
                      <a:pt x="126475" y="335852"/>
                    </a:lnTo>
                    <a:lnTo>
                      <a:pt x="119426" y="309669"/>
                    </a:lnTo>
                    <a:lnTo>
                      <a:pt x="120182" y="294623"/>
                    </a:lnTo>
                    <a:lnTo>
                      <a:pt x="140862" y="256935"/>
                    </a:lnTo>
                    <a:lnTo>
                      <a:pt x="183879" y="244285"/>
                    </a:lnTo>
                    <a:lnTo>
                      <a:pt x="255350" y="244285"/>
                    </a:lnTo>
                    <a:lnTo>
                      <a:pt x="260879" y="237234"/>
                    </a:lnTo>
                    <a:lnTo>
                      <a:pt x="272436" y="227623"/>
                    </a:lnTo>
                    <a:lnTo>
                      <a:pt x="287907" y="221741"/>
                    </a:lnTo>
                    <a:lnTo>
                      <a:pt x="306436" y="220543"/>
                    </a:lnTo>
                    <a:lnTo>
                      <a:pt x="484626" y="220543"/>
                    </a:lnTo>
                    <a:lnTo>
                      <a:pt x="481991" y="194407"/>
                    </a:lnTo>
                    <a:lnTo>
                      <a:pt x="467805" y="148703"/>
                    </a:lnTo>
                    <a:lnTo>
                      <a:pt x="445358" y="107344"/>
                    </a:lnTo>
                    <a:lnTo>
                      <a:pt x="415628" y="71310"/>
                    </a:lnTo>
                    <a:lnTo>
                      <a:pt x="379596" y="41580"/>
                    </a:lnTo>
                    <a:lnTo>
                      <a:pt x="338239" y="19132"/>
                    </a:lnTo>
                    <a:lnTo>
                      <a:pt x="292537" y="4946"/>
                    </a:lnTo>
                    <a:lnTo>
                      <a:pt x="243469" y="0"/>
                    </a:lnTo>
                    <a:close/>
                  </a:path>
                  <a:path w="487044" h="531494">
                    <a:moveTo>
                      <a:pt x="484626" y="220543"/>
                    </a:moveTo>
                    <a:lnTo>
                      <a:pt x="306436" y="220543"/>
                    </a:lnTo>
                    <a:lnTo>
                      <a:pt x="324520" y="224385"/>
                    </a:lnTo>
                    <a:lnTo>
                      <a:pt x="340587" y="232909"/>
                    </a:lnTo>
                    <a:lnTo>
                      <a:pt x="353067" y="245751"/>
                    </a:lnTo>
                    <a:lnTo>
                      <a:pt x="361556" y="265306"/>
                    </a:lnTo>
                    <a:lnTo>
                      <a:pt x="363304" y="286738"/>
                    </a:lnTo>
                    <a:lnTo>
                      <a:pt x="360051" y="308813"/>
                    </a:lnTo>
                    <a:lnTo>
                      <a:pt x="341872" y="357927"/>
                    </a:lnTo>
                    <a:lnTo>
                      <a:pt x="309874" y="404706"/>
                    </a:lnTo>
                    <a:lnTo>
                      <a:pt x="287111" y="426615"/>
                    </a:lnTo>
                    <a:lnTo>
                      <a:pt x="486938" y="426615"/>
                    </a:lnTo>
                    <a:lnTo>
                      <a:pt x="486938" y="243479"/>
                    </a:lnTo>
                    <a:lnTo>
                      <a:pt x="484626" y="220543"/>
                    </a:lnTo>
                    <a:close/>
                  </a:path>
                  <a:path w="487044" h="531494">
                    <a:moveTo>
                      <a:pt x="255350" y="244285"/>
                    </a:moveTo>
                    <a:lnTo>
                      <a:pt x="183879" y="244285"/>
                    </a:lnTo>
                    <a:lnTo>
                      <a:pt x="198986" y="246268"/>
                    </a:lnTo>
                    <a:lnTo>
                      <a:pt x="213655" y="250595"/>
                    </a:lnTo>
                    <a:lnTo>
                      <a:pt x="227496" y="257006"/>
                    </a:lnTo>
                    <a:lnTo>
                      <a:pt x="240118" y="265237"/>
                    </a:lnTo>
                    <a:lnTo>
                      <a:pt x="250889" y="249973"/>
                    </a:lnTo>
                    <a:lnTo>
                      <a:pt x="255350" y="244285"/>
                    </a:lnTo>
                    <a:close/>
                  </a:path>
                </a:pathLst>
              </a:custGeom>
              <a:solidFill>
                <a:srgbClr val="D95B2F"/>
              </a:solidFill>
            </p:spPr>
            <p:txBody>
              <a:bodyPr wrap="square" lIns="0" tIns="0" rIns="0" bIns="0" rtlCol="0"/>
              <a:lstStyle/>
              <a:p>
                <a:endParaRPr/>
              </a:p>
            </p:txBody>
          </p:sp>
          <p:pic>
            <p:nvPicPr>
              <p:cNvPr id="28" name="object 25">
                <a:extLst>
                  <a:ext uri="{FF2B5EF4-FFF2-40B4-BE49-F238E27FC236}">
                    <a16:creationId xmlns:a16="http://schemas.microsoft.com/office/drawing/2014/main" id="{82D8FCC6-E9E3-E9FD-60DD-B7283A713CC9}"/>
                  </a:ext>
                </a:extLst>
              </p:cNvPr>
              <p:cNvPicPr/>
              <p:nvPr/>
            </p:nvPicPr>
            <p:blipFill>
              <a:blip r:embed="rId2" cstate="print"/>
              <a:stretch>
                <a:fillRect/>
              </a:stretch>
            </p:blipFill>
            <p:spPr>
              <a:xfrm>
                <a:off x="1459737" y="2075839"/>
                <a:ext cx="72584" cy="72563"/>
              </a:xfrm>
              <a:prstGeom prst="rect">
                <a:avLst/>
              </a:prstGeom>
            </p:spPr>
          </p:pic>
          <p:sp>
            <p:nvSpPr>
              <p:cNvPr id="29" name="object 26">
                <a:extLst>
                  <a:ext uri="{FF2B5EF4-FFF2-40B4-BE49-F238E27FC236}">
                    <a16:creationId xmlns:a16="http://schemas.microsoft.com/office/drawing/2014/main" id="{29B327D2-7899-34D4-E58D-9225105319E5}"/>
                  </a:ext>
                </a:extLst>
              </p:cNvPr>
              <p:cNvSpPr/>
              <p:nvPr/>
            </p:nvSpPr>
            <p:spPr>
              <a:xfrm>
                <a:off x="1241421" y="1866379"/>
                <a:ext cx="484505" cy="484505"/>
              </a:xfrm>
              <a:custGeom>
                <a:avLst/>
                <a:gdLst/>
                <a:ahLst/>
                <a:cxnLst/>
                <a:rect l="l" t="t" r="r" b="b"/>
                <a:pathLst>
                  <a:path w="484505" h="484505">
                    <a:moveTo>
                      <a:pt x="368983" y="0"/>
                    </a:moveTo>
                    <a:lnTo>
                      <a:pt x="0" y="0"/>
                    </a:lnTo>
                    <a:lnTo>
                      <a:pt x="0" y="484508"/>
                    </a:lnTo>
                    <a:lnTo>
                      <a:pt x="484508" y="484508"/>
                    </a:lnTo>
                    <a:lnTo>
                      <a:pt x="484508" y="389956"/>
                    </a:lnTo>
                    <a:lnTo>
                      <a:pt x="246453" y="389956"/>
                    </a:lnTo>
                    <a:lnTo>
                      <a:pt x="239835" y="383318"/>
                    </a:lnTo>
                    <a:lnTo>
                      <a:pt x="239835" y="378229"/>
                    </a:lnTo>
                    <a:lnTo>
                      <a:pt x="199093" y="378229"/>
                    </a:lnTo>
                    <a:lnTo>
                      <a:pt x="196988" y="377789"/>
                    </a:lnTo>
                    <a:lnTo>
                      <a:pt x="187554" y="373444"/>
                    </a:lnTo>
                    <a:lnTo>
                      <a:pt x="184298" y="364627"/>
                    </a:lnTo>
                    <a:lnTo>
                      <a:pt x="189864" y="352554"/>
                    </a:lnTo>
                    <a:lnTo>
                      <a:pt x="160539" y="352554"/>
                    </a:lnTo>
                    <a:lnTo>
                      <a:pt x="156759" y="351099"/>
                    </a:lnTo>
                    <a:lnTo>
                      <a:pt x="148079" y="342418"/>
                    </a:lnTo>
                    <a:lnTo>
                      <a:pt x="148079" y="333036"/>
                    </a:lnTo>
                    <a:lnTo>
                      <a:pt x="165758" y="315362"/>
                    </a:lnTo>
                    <a:lnTo>
                      <a:pt x="132896" y="315362"/>
                    </a:lnTo>
                    <a:lnTo>
                      <a:pt x="127524" y="312147"/>
                    </a:lnTo>
                    <a:lnTo>
                      <a:pt x="121629" y="299247"/>
                    </a:lnTo>
                    <a:lnTo>
                      <a:pt x="124896" y="290462"/>
                    </a:lnTo>
                    <a:lnTo>
                      <a:pt x="186622" y="262243"/>
                    </a:lnTo>
                    <a:lnTo>
                      <a:pt x="118760" y="262243"/>
                    </a:lnTo>
                    <a:lnTo>
                      <a:pt x="112111" y="255615"/>
                    </a:lnTo>
                    <a:lnTo>
                      <a:pt x="112111" y="239238"/>
                    </a:lnTo>
                    <a:lnTo>
                      <a:pt x="118760" y="232610"/>
                    </a:lnTo>
                    <a:lnTo>
                      <a:pt x="187114" y="232610"/>
                    </a:lnTo>
                    <a:lnTo>
                      <a:pt x="125032" y="203993"/>
                    </a:lnTo>
                    <a:lnTo>
                      <a:pt x="121776" y="195198"/>
                    </a:lnTo>
                    <a:lnTo>
                      <a:pt x="128645" y="180329"/>
                    </a:lnTo>
                    <a:lnTo>
                      <a:pt x="137440" y="177083"/>
                    </a:lnTo>
                    <a:lnTo>
                      <a:pt x="163345" y="177083"/>
                    </a:lnTo>
                    <a:lnTo>
                      <a:pt x="148079" y="161817"/>
                    </a:lnTo>
                    <a:lnTo>
                      <a:pt x="148079" y="152435"/>
                    </a:lnTo>
                    <a:lnTo>
                      <a:pt x="159649" y="140864"/>
                    </a:lnTo>
                    <a:lnTo>
                      <a:pt x="189629" y="140864"/>
                    </a:lnTo>
                    <a:lnTo>
                      <a:pt x="184664" y="130006"/>
                    </a:lnTo>
                    <a:lnTo>
                      <a:pt x="187941" y="121210"/>
                    </a:lnTo>
                    <a:lnTo>
                      <a:pt x="202821" y="114404"/>
                    </a:lnTo>
                    <a:lnTo>
                      <a:pt x="239835" y="114404"/>
                    </a:lnTo>
                    <a:lnTo>
                      <a:pt x="239835" y="111535"/>
                    </a:lnTo>
                    <a:lnTo>
                      <a:pt x="246453" y="104897"/>
                    </a:lnTo>
                    <a:lnTo>
                      <a:pt x="484508" y="104897"/>
                    </a:lnTo>
                    <a:lnTo>
                      <a:pt x="484508" y="51045"/>
                    </a:lnTo>
                    <a:lnTo>
                      <a:pt x="367779" y="701"/>
                    </a:lnTo>
                    <a:lnTo>
                      <a:pt x="368983" y="0"/>
                    </a:lnTo>
                    <a:close/>
                  </a:path>
                  <a:path w="484505" h="484505">
                    <a:moveTo>
                      <a:pt x="269468" y="315466"/>
                    </a:moveTo>
                    <a:lnTo>
                      <a:pt x="269468" y="383318"/>
                    </a:lnTo>
                    <a:lnTo>
                      <a:pt x="262829" y="389956"/>
                    </a:lnTo>
                    <a:lnTo>
                      <a:pt x="484508" y="389956"/>
                    </a:lnTo>
                    <a:lnTo>
                      <a:pt x="484508" y="378386"/>
                    </a:lnTo>
                    <a:lnTo>
                      <a:pt x="302147" y="378386"/>
                    </a:lnTo>
                    <a:lnTo>
                      <a:pt x="296776" y="375182"/>
                    </a:lnTo>
                    <a:lnTo>
                      <a:pt x="269468" y="315466"/>
                    </a:lnTo>
                    <a:close/>
                  </a:path>
                  <a:path w="484505" h="484505">
                    <a:moveTo>
                      <a:pt x="302315" y="316053"/>
                    </a:moveTo>
                    <a:lnTo>
                      <a:pt x="324628" y="364847"/>
                    </a:lnTo>
                    <a:lnTo>
                      <a:pt x="321361" y="373643"/>
                    </a:lnTo>
                    <a:lnTo>
                      <a:pt x="311917" y="377957"/>
                    </a:lnTo>
                    <a:lnTo>
                      <a:pt x="309823" y="378386"/>
                    </a:lnTo>
                    <a:lnTo>
                      <a:pt x="484508" y="378386"/>
                    </a:lnTo>
                    <a:lnTo>
                      <a:pt x="484508" y="352554"/>
                    </a:lnTo>
                    <a:lnTo>
                      <a:pt x="341162" y="352554"/>
                    </a:lnTo>
                    <a:lnTo>
                      <a:pt x="337361" y="351099"/>
                    </a:lnTo>
                    <a:lnTo>
                      <a:pt x="302315" y="316053"/>
                    </a:lnTo>
                    <a:close/>
                  </a:path>
                  <a:path w="484505" h="484505">
                    <a:moveTo>
                      <a:pt x="239835" y="314964"/>
                    </a:moveTo>
                    <a:lnTo>
                      <a:pt x="212129" y="375035"/>
                    </a:lnTo>
                    <a:lnTo>
                      <a:pt x="206768" y="378229"/>
                    </a:lnTo>
                    <a:lnTo>
                      <a:pt x="239835" y="378229"/>
                    </a:lnTo>
                    <a:lnTo>
                      <a:pt x="239835" y="314964"/>
                    </a:lnTo>
                    <a:close/>
                  </a:path>
                  <a:path w="484505" h="484505">
                    <a:moveTo>
                      <a:pt x="206454" y="316576"/>
                    </a:moveTo>
                    <a:lnTo>
                      <a:pt x="171931" y="351099"/>
                    </a:lnTo>
                    <a:lnTo>
                      <a:pt x="168131" y="352554"/>
                    </a:lnTo>
                    <a:lnTo>
                      <a:pt x="189864" y="352554"/>
                    </a:lnTo>
                    <a:lnTo>
                      <a:pt x="206454" y="316576"/>
                    </a:lnTo>
                    <a:close/>
                  </a:path>
                  <a:path w="484505" h="484505">
                    <a:moveTo>
                      <a:pt x="323801" y="295624"/>
                    </a:moveTo>
                    <a:lnTo>
                      <a:pt x="361214" y="333036"/>
                    </a:lnTo>
                    <a:lnTo>
                      <a:pt x="361214" y="342418"/>
                    </a:lnTo>
                    <a:lnTo>
                      <a:pt x="352533" y="351099"/>
                    </a:lnTo>
                    <a:lnTo>
                      <a:pt x="348753" y="352554"/>
                    </a:lnTo>
                    <a:lnTo>
                      <a:pt x="484508" y="352554"/>
                    </a:lnTo>
                    <a:lnTo>
                      <a:pt x="484508" y="315707"/>
                    </a:lnTo>
                    <a:lnTo>
                      <a:pt x="368543" y="315707"/>
                    </a:lnTo>
                    <a:lnTo>
                      <a:pt x="366428" y="315278"/>
                    </a:lnTo>
                    <a:lnTo>
                      <a:pt x="323801" y="295624"/>
                    </a:lnTo>
                    <a:close/>
                  </a:path>
                  <a:path w="484505" h="484505">
                    <a:moveTo>
                      <a:pt x="484508" y="177439"/>
                    </a:moveTo>
                    <a:lnTo>
                      <a:pt x="372072" y="177439"/>
                    </a:lnTo>
                    <a:lnTo>
                      <a:pt x="380857" y="180717"/>
                    </a:lnTo>
                    <a:lnTo>
                      <a:pt x="387674" y="195596"/>
                    </a:lnTo>
                    <a:lnTo>
                      <a:pt x="384396" y="204391"/>
                    </a:lnTo>
                    <a:lnTo>
                      <a:pt x="322681" y="232610"/>
                    </a:lnTo>
                    <a:lnTo>
                      <a:pt x="390532" y="232610"/>
                    </a:lnTo>
                    <a:lnTo>
                      <a:pt x="397181" y="239238"/>
                    </a:lnTo>
                    <a:lnTo>
                      <a:pt x="397181" y="255615"/>
                    </a:lnTo>
                    <a:lnTo>
                      <a:pt x="390532" y="262243"/>
                    </a:lnTo>
                    <a:lnTo>
                      <a:pt x="322178" y="262243"/>
                    </a:lnTo>
                    <a:lnTo>
                      <a:pt x="384271" y="290860"/>
                    </a:lnTo>
                    <a:lnTo>
                      <a:pt x="387516" y="299666"/>
                    </a:lnTo>
                    <a:lnTo>
                      <a:pt x="381580" y="312514"/>
                    </a:lnTo>
                    <a:lnTo>
                      <a:pt x="376218" y="315707"/>
                    </a:lnTo>
                    <a:lnTo>
                      <a:pt x="484508" y="315707"/>
                    </a:lnTo>
                    <a:lnTo>
                      <a:pt x="484508" y="177439"/>
                    </a:lnTo>
                    <a:close/>
                  </a:path>
                  <a:path w="484505" h="484505">
                    <a:moveTo>
                      <a:pt x="186025" y="295100"/>
                    </a:moveTo>
                    <a:lnTo>
                      <a:pt x="142665" y="314922"/>
                    </a:lnTo>
                    <a:lnTo>
                      <a:pt x="140571" y="315362"/>
                    </a:lnTo>
                    <a:lnTo>
                      <a:pt x="165758" y="315362"/>
                    </a:lnTo>
                    <a:lnTo>
                      <a:pt x="186025" y="295100"/>
                    </a:lnTo>
                    <a:close/>
                  </a:path>
                  <a:path w="484505" h="484505">
                    <a:moveTo>
                      <a:pt x="484508" y="140864"/>
                    </a:moveTo>
                    <a:lnTo>
                      <a:pt x="349643" y="140864"/>
                    </a:lnTo>
                    <a:lnTo>
                      <a:pt x="361214" y="152435"/>
                    </a:lnTo>
                    <a:lnTo>
                      <a:pt x="361214" y="161817"/>
                    </a:lnTo>
                    <a:lnTo>
                      <a:pt x="323267" y="199753"/>
                    </a:lnTo>
                    <a:lnTo>
                      <a:pt x="372072" y="177439"/>
                    </a:lnTo>
                    <a:lnTo>
                      <a:pt x="484508" y="177439"/>
                    </a:lnTo>
                    <a:lnTo>
                      <a:pt x="484508" y="140864"/>
                    </a:lnTo>
                    <a:close/>
                  </a:path>
                  <a:path w="484505" h="484505">
                    <a:moveTo>
                      <a:pt x="163345" y="177083"/>
                    </a:moveTo>
                    <a:lnTo>
                      <a:pt x="137440" y="177083"/>
                    </a:lnTo>
                    <a:lnTo>
                      <a:pt x="185491" y="199229"/>
                    </a:lnTo>
                    <a:lnTo>
                      <a:pt x="163345" y="177083"/>
                    </a:lnTo>
                    <a:close/>
                  </a:path>
                  <a:path w="484505" h="484505">
                    <a:moveTo>
                      <a:pt x="484508" y="104897"/>
                    </a:moveTo>
                    <a:lnTo>
                      <a:pt x="262829" y="104897"/>
                    </a:lnTo>
                    <a:lnTo>
                      <a:pt x="269468" y="111535"/>
                    </a:lnTo>
                    <a:lnTo>
                      <a:pt x="269468" y="179900"/>
                    </a:lnTo>
                    <a:lnTo>
                      <a:pt x="298085" y="117818"/>
                    </a:lnTo>
                    <a:lnTo>
                      <a:pt x="306891" y="114561"/>
                    </a:lnTo>
                    <a:lnTo>
                      <a:pt x="484508" y="114561"/>
                    </a:lnTo>
                    <a:lnTo>
                      <a:pt x="484508" y="104897"/>
                    </a:lnTo>
                    <a:close/>
                  </a:path>
                  <a:path w="484505" h="484505">
                    <a:moveTo>
                      <a:pt x="239835" y="114404"/>
                    </a:moveTo>
                    <a:lnTo>
                      <a:pt x="202821" y="114404"/>
                    </a:lnTo>
                    <a:lnTo>
                      <a:pt x="211606" y="117671"/>
                    </a:lnTo>
                    <a:lnTo>
                      <a:pt x="239835" y="179397"/>
                    </a:lnTo>
                    <a:lnTo>
                      <a:pt x="239835" y="114404"/>
                    </a:lnTo>
                    <a:close/>
                  </a:path>
                  <a:path w="484505" h="484505">
                    <a:moveTo>
                      <a:pt x="189629" y="140864"/>
                    </a:moveTo>
                    <a:lnTo>
                      <a:pt x="169041" y="140864"/>
                    </a:lnTo>
                    <a:lnTo>
                      <a:pt x="206977" y="178800"/>
                    </a:lnTo>
                    <a:lnTo>
                      <a:pt x="189629" y="140864"/>
                    </a:lnTo>
                    <a:close/>
                  </a:path>
                  <a:path w="484505" h="484505">
                    <a:moveTo>
                      <a:pt x="484508" y="114561"/>
                    </a:moveTo>
                    <a:lnTo>
                      <a:pt x="306891" y="114561"/>
                    </a:lnTo>
                    <a:lnTo>
                      <a:pt x="321749" y="121420"/>
                    </a:lnTo>
                    <a:lnTo>
                      <a:pt x="324995" y="130226"/>
                    </a:lnTo>
                    <a:lnTo>
                      <a:pt x="302838" y="178277"/>
                    </a:lnTo>
                    <a:lnTo>
                      <a:pt x="340251" y="140864"/>
                    </a:lnTo>
                    <a:lnTo>
                      <a:pt x="484508" y="140864"/>
                    </a:lnTo>
                    <a:lnTo>
                      <a:pt x="484508" y="114561"/>
                    </a:lnTo>
                    <a:close/>
                  </a:path>
                </a:pathLst>
              </a:custGeom>
              <a:solidFill>
                <a:srgbClr val="7EB97D"/>
              </a:solidFill>
            </p:spPr>
            <p:txBody>
              <a:bodyPr wrap="square" lIns="0" tIns="0" rIns="0" bIns="0" rtlCol="0"/>
              <a:lstStyle/>
              <a:p>
                <a:endParaRPr/>
              </a:p>
            </p:txBody>
          </p:sp>
          <p:pic>
            <p:nvPicPr>
              <p:cNvPr id="30" name="object 27">
                <a:extLst>
                  <a:ext uri="{FF2B5EF4-FFF2-40B4-BE49-F238E27FC236}">
                    <a16:creationId xmlns:a16="http://schemas.microsoft.com/office/drawing/2014/main" id="{A9ADEDBF-687A-1166-3233-7B7BBE627A37}"/>
                  </a:ext>
                </a:extLst>
              </p:cNvPr>
              <p:cNvPicPr/>
              <p:nvPr/>
            </p:nvPicPr>
            <p:blipFill>
              <a:blip r:embed="rId3" cstate="print"/>
              <a:stretch>
                <a:fillRect/>
              </a:stretch>
            </p:blipFill>
            <p:spPr>
              <a:xfrm>
                <a:off x="1360871" y="1555977"/>
                <a:ext cx="243876" cy="206072"/>
              </a:xfrm>
              <a:prstGeom prst="rect">
                <a:avLst/>
              </a:prstGeom>
            </p:spPr>
          </p:pic>
          <p:sp>
            <p:nvSpPr>
              <p:cNvPr id="31" name="object 28">
                <a:extLst>
                  <a:ext uri="{FF2B5EF4-FFF2-40B4-BE49-F238E27FC236}">
                    <a16:creationId xmlns:a16="http://schemas.microsoft.com/office/drawing/2014/main" id="{DC65D1B0-1FBB-A77A-C56B-0C879B619604}"/>
                  </a:ext>
                </a:extLst>
              </p:cNvPr>
              <p:cNvSpPr/>
              <p:nvPr/>
            </p:nvSpPr>
            <p:spPr>
              <a:xfrm>
                <a:off x="1353541" y="1971278"/>
                <a:ext cx="285115" cy="285115"/>
              </a:xfrm>
              <a:custGeom>
                <a:avLst/>
                <a:gdLst/>
                <a:ahLst/>
                <a:cxnLst/>
                <a:rect l="l" t="t" r="r" b="b"/>
                <a:pathLst>
                  <a:path w="285114" h="285114">
                    <a:moveTo>
                      <a:pt x="231024" y="210066"/>
                    </a:moveTo>
                    <a:lnTo>
                      <a:pt x="127713" y="210066"/>
                    </a:lnTo>
                    <a:lnTo>
                      <a:pt x="127713" y="278420"/>
                    </a:lnTo>
                    <a:lnTo>
                      <a:pt x="134341" y="285059"/>
                    </a:lnTo>
                    <a:lnTo>
                      <a:pt x="150707" y="285059"/>
                    </a:lnTo>
                    <a:lnTo>
                      <a:pt x="157345" y="278420"/>
                    </a:lnTo>
                    <a:lnTo>
                      <a:pt x="157345" y="210559"/>
                    </a:lnTo>
                    <a:lnTo>
                      <a:pt x="231516" y="210559"/>
                    </a:lnTo>
                    <a:lnTo>
                      <a:pt x="231024" y="210066"/>
                    </a:lnTo>
                    <a:close/>
                  </a:path>
                  <a:path w="285114" h="285114">
                    <a:moveTo>
                      <a:pt x="231516" y="210559"/>
                    </a:moveTo>
                    <a:lnTo>
                      <a:pt x="157345" y="210559"/>
                    </a:lnTo>
                    <a:lnTo>
                      <a:pt x="184654" y="270284"/>
                    </a:lnTo>
                    <a:lnTo>
                      <a:pt x="190025" y="273489"/>
                    </a:lnTo>
                    <a:lnTo>
                      <a:pt x="197700" y="273489"/>
                    </a:lnTo>
                    <a:lnTo>
                      <a:pt x="199805" y="273059"/>
                    </a:lnTo>
                    <a:lnTo>
                      <a:pt x="209239" y="268745"/>
                    </a:lnTo>
                    <a:lnTo>
                      <a:pt x="212506" y="259950"/>
                    </a:lnTo>
                    <a:lnTo>
                      <a:pt x="190203" y="211155"/>
                    </a:lnTo>
                    <a:lnTo>
                      <a:pt x="232113" y="211155"/>
                    </a:lnTo>
                    <a:lnTo>
                      <a:pt x="231516" y="210559"/>
                    </a:lnTo>
                    <a:close/>
                  </a:path>
                  <a:path w="285114" h="285114">
                    <a:moveTo>
                      <a:pt x="126969" y="211679"/>
                    </a:moveTo>
                    <a:lnTo>
                      <a:pt x="94332" y="211679"/>
                    </a:lnTo>
                    <a:lnTo>
                      <a:pt x="72175" y="259730"/>
                    </a:lnTo>
                    <a:lnTo>
                      <a:pt x="75432" y="268536"/>
                    </a:lnTo>
                    <a:lnTo>
                      <a:pt x="84866" y="272892"/>
                    </a:lnTo>
                    <a:lnTo>
                      <a:pt x="86971" y="273331"/>
                    </a:lnTo>
                    <a:lnTo>
                      <a:pt x="94656" y="273331"/>
                    </a:lnTo>
                    <a:lnTo>
                      <a:pt x="100007" y="270138"/>
                    </a:lnTo>
                    <a:lnTo>
                      <a:pt x="126969" y="211679"/>
                    </a:lnTo>
                    <a:close/>
                  </a:path>
                  <a:path w="285114" h="285114">
                    <a:moveTo>
                      <a:pt x="273711" y="190203"/>
                    </a:moveTo>
                    <a:lnTo>
                      <a:pt x="73903" y="190203"/>
                    </a:lnTo>
                    <a:lnTo>
                      <a:pt x="35957" y="228139"/>
                    </a:lnTo>
                    <a:lnTo>
                      <a:pt x="35957" y="237521"/>
                    </a:lnTo>
                    <a:lnTo>
                      <a:pt x="44637" y="246201"/>
                    </a:lnTo>
                    <a:lnTo>
                      <a:pt x="48427" y="247646"/>
                    </a:lnTo>
                    <a:lnTo>
                      <a:pt x="56008" y="247646"/>
                    </a:lnTo>
                    <a:lnTo>
                      <a:pt x="59809" y="246201"/>
                    </a:lnTo>
                    <a:lnTo>
                      <a:pt x="94332" y="211679"/>
                    </a:lnTo>
                    <a:lnTo>
                      <a:pt x="126969" y="211679"/>
                    </a:lnTo>
                    <a:lnTo>
                      <a:pt x="127713" y="210066"/>
                    </a:lnTo>
                    <a:lnTo>
                      <a:pt x="231024" y="210066"/>
                    </a:lnTo>
                    <a:lnTo>
                      <a:pt x="211679" y="190727"/>
                    </a:lnTo>
                    <a:lnTo>
                      <a:pt x="273904" y="190727"/>
                    </a:lnTo>
                    <a:lnTo>
                      <a:pt x="273711" y="190203"/>
                    </a:lnTo>
                    <a:close/>
                  </a:path>
                  <a:path w="285114" h="285114">
                    <a:moveTo>
                      <a:pt x="232113" y="211155"/>
                    </a:moveTo>
                    <a:lnTo>
                      <a:pt x="190203" y="211155"/>
                    </a:lnTo>
                    <a:lnTo>
                      <a:pt x="225239" y="246201"/>
                    </a:lnTo>
                    <a:lnTo>
                      <a:pt x="229050" y="247646"/>
                    </a:lnTo>
                    <a:lnTo>
                      <a:pt x="236631" y="247646"/>
                    </a:lnTo>
                    <a:lnTo>
                      <a:pt x="240421" y="246201"/>
                    </a:lnTo>
                    <a:lnTo>
                      <a:pt x="249102" y="237521"/>
                    </a:lnTo>
                    <a:lnTo>
                      <a:pt x="249102" y="228139"/>
                    </a:lnTo>
                    <a:lnTo>
                      <a:pt x="232113" y="211155"/>
                    </a:lnTo>
                    <a:close/>
                  </a:path>
                  <a:path w="285114" h="285114">
                    <a:moveTo>
                      <a:pt x="273904" y="190727"/>
                    </a:moveTo>
                    <a:lnTo>
                      <a:pt x="211679" y="190727"/>
                    </a:lnTo>
                    <a:lnTo>
                      <a:pt x="254316" y="210381"/>
                    </a:lnTo>
                    <a:lnTo>
                      <a:pt x="256421" y="210810"/>
                    </a:lnTo>
                    <a:lnTo>
                      <a:pt x="264096" y="210810"/>
                    </a:lnTo>
                    <a:lnTo>
                      <a:pt x="269457" y="207616"/>
                    </a:lnTo>
                    <a:lnTo>
                      <a:pt x="275394" y="194768"/>
                    </a:lnTo>
                    <a:lnTo>
                      <a:pt x="273904" y="190727"/>
                    </a:lnTo>
                    <a:close/>
                  </a:path>
                  <a:path w="285114" h="285114">
                    <a:moveTo>
                      <a:pt x="25329" y="72186"/>
                    </a:moveTo>
                    <a:lnTo>
                      <a:pt x="16523" y="75432"/>
                    </a:lnTo>
                    <a:lnTo>
                      <a:pt x="9654" y="90300"/>
                    </a:lnTo>
                    <a:lnTo>
                      <a:pt x="12910" y="99096"/>
                    </a:lnTo>
                    <a:lnTo>
                      <a:pt x="75002" y="127713"/>
                    </a:lnTo>
                    <a:lnTo>
                      <a:pt x="6638" y="127713"/>
                    </a:lnTo>
                    <a:lnTo>
                      <a:pt x="0" y="134341"/>
                    </a:lnTo>
                    <a:lnTo>
                      <a:pt x="0" y="150717"/>
                    </a:lnTo>
                    <a:lnTo>
                      <a:pt x="6638" y="157345"/>
                    </a:lnTo>
                    <a:lnTo>
                      <a:pt x="74500" y="157345"/>
                    </a:lnTo>
                    <a:lnTo>
                      <a:pt x="12774" y="185565"/>
                    </a:lnTo>
                    <a:lnTo>
                      <a:pt x="9507" y="194350"/>
                    </a:lnTo>
                    <a:lnTo>
                      <a:pt x="15402" y="207239"/>
                    </a:lnTo>
                    <a:lnTo>
                      <a:pt x="20774" y="210464"/>
                    </a:lnTo>
                    <a:lnTo>
                      <a:pt x="28449" y="210464"/>
                    </a:lnTo>
                    <a:lnTo>
                      <a:pt x="30554" y="210025"/>
                    </a:lnTo>
                    <a:lnTo>
                      <a:pt x="73903" y="190203"/>
                    </a:lnTo>
                    <a:lnTo>
                      <a:pt x="273711" y="190203"/>
                    </a:lnTo>
                    <a:lnTo>
                      <a:pt x="272148" y="185962"/>
                    </a:lnTo>
                    <a:lnTo>
                      <a:pt x="252973" y="177125"/>
                    </a:lnTo>
                    <a:lnTo>
                      <a:pt x="142487" y="177125"/>
                    </a:lnTo>
                    <a:lnTo>
                      <a:pt x="128362" y="174273"/>
                    </a:lnTo>
                    <a:lnTo>
                      <a:pt x="116826" y="166494"/>
                    </a:lnTo>
                    <a:lnTo>
                      <a:pt x="109048" y="154958"/>
                    </a:lnTo>
                    <a:lnTo>
                      <a:pt x="106195" y="140833"/>
                    </a:lnTo>
                    <a:lnTo>
                      <a:pt x="109048" y="126715"/>
                    </a:lnTo>
                    <a:lnTo>
                      <a:pt x="116826" y="115186"/>
                    </a:lnTo>
                    <a:lnTo>
                      <a:pt x="128362" y="107412"/>
                    </a:lnTo>
                    <a:lnTo>
                      <a:pt x="142487" y="104562"/>
                    </a:lnTo>
                    <a:lnTo>
                      <a:pt x="261199" y="104562"/>
                    </a:lnTo>
                    <a:lnTo>
                      <a:pt x="272284" y="99494"/>
                    </a:lnTo>
                    <a:lnTo>
                      <a:pt x="274007" y="94855"/>
                    </a:lnTo>
                    <a:lnTo>
                      <a:pt x="211155" y="94855"/>
                    </a:lnTo>
                    <a:lnTo>
                      <a:pt x="211679" y="94332"/>
                    </a:lnTo>
                    <a:lnTo>
                      <a:pt x="73369" y="94332"/>
                    </a:lnTo>
                    <a:lnTo>
                      <a:pt x="25329" y="72186"/>
                    </a:lnTo>
                    <a:close/>
                  </a:path>
                  <a:path w="285114" h="285114">
                    <a:moveTo>
                      <a:pt x="261199" y="104562"/>
                    </a:moveTo>
                    <a:lnTo>
                      <a:pt x="142487" y="104562"/>
                    </a:lnTo>
                    <a:lnTo>
                      <a:pt x="156613" y="107412"/>
                    </a:lnTo>
                    <a:lnTo>
                      <a:pt x="168149" y="115186"/>
                    </a:lnTo>
                    <a:lnTo>
                      <a:pt x="175927" y="126715"/>
                    </a:lnTo>
                    <a:lnTo>
                      <a:pt x="178779" y="140833"/>
                    </a:lnTo>
                    <a:lnTo>
                      <a:pt x="175927" y="154958"/>
                    </a:lnTo>
                    <a:lnTo>
                      <a:pt x="168149" y="166494"/>
                    </a:lnTo>
                    <a:lnTo>
                      <a:pt x="156613" y="174273"/>
                    </a:lnTo>
                    <a:lnTo>
                      <a:pt x="142487" y="177125"/>
                    </a:lnTo>
                    <a:lnTo>
                      <a:pt x="252973" y="177125"/>
                    </a:lnTo>
                    <a:lnTo>
                      <a:pt x="210056" y="157345"/>
                    </a:lnTo>
                    <a:lnTo>
                      <a:pt x="278410" y="157345"/>
                    </a:lnTo>
                    <a:lnTo>
                      <a:pt x="285059" y="150717"/>
                    </a:lnTo>
                    <a:lnTo>
                      <a:pt x="285059" y="134341"/>
                    </a:lnTo>
                    <a:lnTo>
                      <a:pt x="278410" y="127713"/>
                    </a:lnTo>
                    <a:lnTo>
                      <a:pt x="210559" y="127713"/>
                    </a:lnTo>
                    <a:lnTo>
                      <a:pt x="261199" y="104562"/>
                    </a:lnTo>
                    <a:close/>
                  </a:path>
                  <a:path w="285114" h="285114">
                    <a:moveTo>
                      <a:pt x="259950" y="72542"/>
                    </a:moveTo>
                    <a:lnTo>
                      <a:pt x="211155" y="94855"/>
                    </a:lnTo>
                    <a:lnTo>
                      <a:pt x="274007" y="94855"/>
                    </a:lnTo>
                    <a:lnTo>
                      <a:pt x="275551" y="90698"/>
                    </a:lnTo>
                    <a:lnTo>
                      <a:pt x="268745" y="75819"/>
                    </a:lnTo>
                    <a:lnTo>
                      <a:pt x="259950" y="72542"/>
                    </a:lnTo>
                    <a:close/>
                  </a:path>
                  <a:path w="285114" h="285114">
                    <a:moveTo>
                      <a:pt x="56919" y="35967"/>
                    </a:moveTo>
                    <a:lnTo>
                      <a:pt x="47537" y="35967"/>
                    </a:lnTo>
                    <a:lnTo>
                      <a:pt x="35957" y="47537"/>
                    </a:lnTo>
                    <a:lnTo>
                      <a:pt x="35957" y="56919"/>
                    </a:lnTo>
                    <a:lnTo>
                      <a:pt x="73369" y="94332"/>
                    </a:lnTo>
                    <a:lnTo>
                      <a:pt x="211679" y="94332"/>
                    </a:lnTo>
                    <a:lnTo>
                      <a:pt x="231014" y="75002"/>
                    </a:lnTo>
                    <a:lnTo>
                      <a:pt x="157345" y="75002"/>
                    </a:lnTo>
                    <a:lnTo>
                      <a:pt x="157345" y="74500"/>
                    </a:lnTo>
                    <a:lnTo>
                      <a:pt x="127713" y="74500"/>
                    </a:lnTo>
                    <a:lnTo>
                      <a:pt x="127440" y="73903"/>
                    </a:lnTo>
                    <a:lnTo>
                      <a:pt x="94855" y="73903"/>
                    </a:lnTo>
                    <a:lnTo>
                      <a:pt x="56919" y="35967"/>
                    </a:lnTo>
                    <a:close/>
                  </a:path>
                  <a:path w="285114" h="285114">
                    <a:moveTo>
                      <a:pt x="194768" y="9664"/>
                    </a:moveTo>
                    <a:lnTo>
                      <a:pt x="185962" y="12910"/>
                    </a:lnTo>
                    <a:lnTo>
                      <a:pt x="157345" y="75002"/>
                    </a:lnTo>
                    <a:lnTo>
                      <a:pt x="231014" y="75002"/>
                    </a:lnTo>
                    <a:lnTo>
                      <a:pt x="232637" y="73379"/>
                    </a:lnTo>
                    <a:lnTo>
                      <a:pt x="190716" y="73379"/>
                    </a:lnTo>
                    <a:lnTo>
                      <a:pt x="212883" y="25329"/>
                    </a:lnTo>
                    <a:lnTo>
                      <a:pt x="209627" y="16523"/>
                    </a:lnTo>
                    <a:lnTo>
                      <a:pt x="194768" y="9664"/>
                    </a:lnTo>
                    <a:close/>
                  </a:path>
                  <a:path w="285114" h="285114">
                    <a:moveTo>
                      <a:pt x="150707" y="0"/>
                    </a:moveTo>
                    <a:lnTo>
                      <a:pt x="134341" y="0"/>
                    </a:lnTo>
                    <a:lnTo>
                      <a:pt x="127713" y="6638"/>
                    </a:lnTo>
                    <a:lnTo>
                      <a:pt x="127713" y="74500"/>
                    </a:lnTo>
                    <a:lnTo>
                      <a:pt x="157345" y="74500"/>
                    </a:lnTo>
                    <a:lnTo>
                      <a:pt x="157345" y="6638"/>
                    </a:lnTo>
                    <a:lnTo>
                      <a:pt x="150707" y="0"/>
                    </a:lnTo>
                    <a:close/>
                  </a:path>
                  <a:path w="285114" h="285114">
                    <a:moveTo>
                      <a:pt x="90709" y="9507"/>
                    </a:moveTo>
                    <a:lnTo>
                      <a:pt x="75819" y="16313"/>
                    </a:lnTo>
                    <a:lnTo>
                      <a:pt x="72542" y="25109"/>
                    </a:lnTo>
                    <a:lnTo>
                      <a:pt x="94855" y="73903"/>
                    </a:lnTo>
                    <a:lnTo>
                      <a:pt x="127440" y="73903"/>
                    </a:lnTo>
                    <a:lnTo>
                      <a:pt x="99494" y="12774"/>
                    </a:lnTo>
                    <a:lnTo>
                      <a:pt x="90709" y="9507"/>
                    </a:lnTo>
                    <a:close/>
                  </a:path>
                  <a:path w="285114" h="285114">
                    <a:moveTo>
                      <a:pt x="237521" y="35967"/>
                    </a:moveTo>
                    <a:lnTo>
                      <a:pt x="228139" y="35967"/>
                    </a:lnTo>
                    <a:lnTo>
                      <a:pt x="190716" y="73379"/>
                    </a:lnTo>
                    <a:lnTo>
                      <a:pt x="232637" y="73379"/>
                    </a:lnTo>
                    <a:lnTo>
                      <a:pt x="249102" y="56919"/>
                    </a:lnTo>
                    <a:lnTo>
                      <a:pt x="249102" y="47537"/>
                    </a:lnTo>
                    <a:lnTo>
                      <a:pt x="237521" y="35967"/>
                    </a:lnTo>
                    <a:close/>
                  </a:path>
                </a:pathLst>
              </a:custGeom>
              <a:solidFill>
                <a:srgbClr val="FFFFFF"/>
              </a:solidFill>
            </p:spPr>
            <p:txBody>
              <a:bodyPr wrap="square" lIns="0" tIns="0" rIns="0" bIns="0" rtlCol="0"/>
              <a:lstStyle/>
              <a:p>
                <a:endParaRPr/>
              </a:p>
            </p:txBody>
          </p:sp>
          <p:pic>
            <p:nvPicPr>
              <p:cNvPr id="32" name="object 29">
                <a:extLst>
                  <a:ext uri="{FF2B5EF4-FFF2-40B4-BE49-F238E27FC236}">
                    <a16:creationId xmlns:a16="http://schemas.microsoft.com/office/drawing/2014/main" id="{01189608-6C14-1BDF-509C-91A18C98F42A}"/>
                  </a:ext>
                </a:extLst>
              </p:cNvPr>
              <p:cNvPicPr/>
              <p:nvPr/>
            </p:nvPicPr>
            <p:blipFill>
              <a:blip r:embed="rId4" cstate="print"/>
              <a:stretch>
                <a:fillRect/>
              </a:stretch>
            </p:blipFill>
            <p:spPr>
              <a:xfrm>
                <a:off x="1884211" y="1852160"/>
                <a:ext cx="67013" cy="67034"/>
              </a:xfrm>
              <a:prstGeom prst="rect">
                <a:avLst/>
              </a:prstGeom>
            </p:spPr>
          </p:pic>
          <p:pic>
            <p:nvPicPr>
              <p:cNvPr id="33" name="object 30">
                <a:extLst>
                  <a:ext uri="{FF2B5EF4-FFF2-40B4-BE49-F238E27FC236}">
                    <a16:creationId xmlns:a16="http://schemas.microsoft.com/office/drawing/2014/main" id="{F399E8B6-FABB-9DE6-70EA-BB190E1A20FB}"/>
                  </a:ext>
                </a:extLst>
              </p:cNvPr>
              <p:cNvPicPr/>
              <p:nvPr/>
            </p:nvPicPr>
            <p:blipFill>
              <a:blip r:embed="rId4" cstate="print"/>
              <a:stretch>
                <a:fillRect/>
              </a:stretch>
            </p:blipFill>
            <p:spPr>
              <a:xfrm>
                <a:off x="1884211" y="1973925"/>
                <a:ext cx="67013" cy="67034"/>
              </a:xfrm>
              <a:prstGeom prst="rect">
                <a:avLst/>
              </a:prstGeom>
            </p:spPr>
          </p:pic>
          <p:pic>
            <p:nvPicPr>
              <p:cNvPr id="34" name="object 31">
                <a:extLst>
                  <a:ext uri="{FF2B5EF4-FFF2-40B4-BE49-F238E27FC236}">
                    <a16:creationId xmlns:a16="http://schemas.microsoft.com/office/drawing/2014/main" id="{1CC2112C-7549-9AD9-7FC7-F75B54DE5B88}"/>
                  </a:ext>
                </a:extLst>
              </p:cNvPr>
              <p:cNvPicPr/>
              <p:nvPr/>
            </p:nvPicPr>
            <p:blipFill>
              <a:blip r:embed="rId4" cstate="print"/>
              <a:stretch>
                <a:fillRect/>
              </a:stretch>
            </p:blipFill>
            <p:spPr>
              <a:xfrm>
                <a:off x="1884211" y="2095684"/>
                <a:ext cx="67013" cy="67034"/>
              </a:xfrm>
              <a:prstGeom prst="rect">
                <a:avLst/>
              </a:prstGeom>
            </p:spPr>
          </p:pic>
          <p:sp>
            <p:nvSpPr>
              <p:cNvPr id="35" name="object 32">
                <a:extLst>
                  <a:ext uri="{FF2B5EF4-FFF2-40B4-BE49-F238E27FC236}">
                    <a16:creationId xmlns:a16="http://schemas.microsoft.com/office/drawing/2014/main" id="{833AC8D4-7A25-CC18-3737-116459390909}"/>
                  </a:ext>
                </a:extLst>
              </p:cNvPr>
              <p:cNvSpPr/>
              <p:nvPr/>
            </p:nvSpPr>
            <p:spPr>
              <a:xfrm>
                <a:off x="1609204" y="1664642"/>
                <a:ext cx="501015" cy="685800"/>
              </a:xfrm>
              <a:custGeom>
                <a:avLst/>
                <a:gdLst/>
                <a:ahLst/>
                <a:cxnLst/>
                <a:rect l="l" t="t" r="r" b="b"/>
                <a:pathLst>
                  <a:path w="501014" h="685800">
                    <a:moveTo>
                      <a:pt x="500874" y="0"/>
                    </a:moveTo>
                    <a:lnTo>
                      <a:pt x="119179" y="0"/>
                    </a:lnTo>
                    <a:lnTo>
                      <a:pt x="119179" y="132226"/>
                    </a:lnTo>
                    <a:lnTo>
                      <a:pt x="0" y="202444"/>
                    </a:lnTo>
                    <a:lnTo>
                      <a:pt x="116729" y="252777"/>
                    </a:lnTo>
                    <a:lnTo>
                      <a:pt x="116729" y="685591"/>
                    </a:lnTo>
                    <a:lnTo>
                      <a:pt x="500874" y="685591"/>
                    </a:lnTo>
                    <a:lnTo>
                      <a:pt x="500874" y="498079"/>
                    </a:lnTo>
                    <a:lnTo>
                      <a:pt x="308503" y="498079"/>
                    </a:lnTo>
                    <a:lnTo>
                      <a:pt x="295464" y="495443"/>
                    </a:lnTo>
                    <a:lnTo>
                      <a:pt x="284817" y="488258"/>
                    </a:lnTo>
                    <a:lnTo>
                      <a:pt x="277639" y="477604"/>
                    </a:lnTo>
                    <a:lnTo>
                      <a:pt x="275007" y="464561"/>
                    </a:lnTo>
                    <a:lnTo>
                      <a:pt x="277639" y="451519"/>
                    </a:lnTo>
                    <a:lnTo>
                      <a:pt x="284817" y="440864"/>
                    </a:lnTo>
                    <a:lnTo>
                      <a:pt x="295464" y="433679"/>
                    </a:lnTo>
                    <a:lnTo>
                      <a:pt x="308503" y="431044"/>
                    </a:lnTo>
                    <a:lnTo>
                      <a:pt x="500874" y="431044"/>
                    </a:lnTo>
                    <a:lnTo>
                      <a:pt x="500874" y="376313"/>
                    </a:lnTo>
                    <a:lnTo>
                      <a:pt x="308503" y="376313"/>
                    </a:lnTo>
                    <a:lnTo>
                      <a:pt x="295464" y="373677"/>
                    </a:lnTo>
                    <a:lnTo>
                      <a:pt x="284817" y="366492"/>
                    </a:lnTo>
                    <a:lnTo>
                      <a:pt x="277639" y="355838"/>
                    </a:lnTo>
                    <a:lnTo>
                      <a:pt x="275007" y="342795"/>
                    </a:lnTo>
                    <a:lnTo>
                      <a:pt x="277639" y="329753"/>
                    </a:lnTo>
                    <a:lnTo>
                      <a:pt x="284817" y="319098"/>
                    </a:lnTo>
                    <a:lnTo>
                      <a:pt x="295464" y="311913"/>
                    </a:lnTo>
                    <a:lnTo>
                      <a:pt x="308503" y="309278"/>
                    </a:lnTo>
                    <a:lnTo>
                      <a:pt x="500874" y="309278"/>
                    </a:lnTo>
                    <a:lnTo>
                      <a:pt x="500874" y="254557"/>
                    </a:lnTo>
                    <a:lnTo>
                      <a:pt x="308503" y="254557"/>
                    </a:lnTo>
                    <a:lnTo>
                      <a:pt x="275007" y="221040"/>
                    </a:lnTo>
                    <a:lnTo>
                      <a:pt x="277639" y="207993"/>
                    </a:lnTo>
                    <a:lnTo>
                      <a:pt x="284817" y="197339"/>
                    </a:lnTo>
                    <a:lnTo>
                      <a:pt x="295464" y="190156"/>
                    </a:lnTo>
                    <a:lnTo>
                      <a:pt x="308503" y="187523"/>
                    </a:lnTo>
                    <a:lnTo>
                      <a:pt x="500874" y="187523"/>
                    </a:lnTo>
                    <a:lnTo>
                      <a:pt x="500874" y="0"/>
                    </a:lnTo>
                    <a:close/>
                  </a:path>
                  <a:path w="501014" h="685800">
                    <a:moveTo>
                      <a:pt x="500874" y="431044"/>
                    </a:moveTo>
                    <a:lnTo>
                      <a:pt x="308503" y="431044"/>
                    </a:lnTo>
                    <a:lnTo>
                      <a:pt x="321555" y="433679"/>
                    </a:lnTo>
                    <a:lnTo>
                      <a:pt x="332208" y="440864"/>
                    </a:lnTo>
                    <a:lnTo>
                      <a:pt x="339388" y="451519"/>
                    </a:lnTo>
                    <a:lnTo>
                      <a:pt x="342020" y="464561"/>
                    </a:lnTo>
                    <a:lnTo>
                      <a:pt x="339388" y="477604"/>
                    </a:lnTo>
                    <a:lnTo>
                      <a:pt x="332208" y="488258"/>
                    </a:lnTo>
                    <a:lnTo>
                      <a:pt x="321555" y="495443"/>
                    </a:lnTo>
                    <a:lnTo>
                      <a:pt x="308503" y="498079"/>
                    </a:lnTo>
                    <a:lnTo>
                      <a:pt x="500874" y="498079"/>
                    </a:lnTo>
                    <a:lnTo>
                      <a:pt x="500874" y="431044"/>
                    </a:lnTo>
                    <a:close/>
                  </a:path>
                  <a:path w="501014" h="685800">
                    <a:moveTo>
                      <a:pt x="500874" y="309278"/>
                    </a:moveTo>
                    <a:lnTo>
                      <a:pt x="308503" y="309278"/>
                    </a:lnTo>
                    <a:lnTo>
                      <a:pt x="321555" y="311913"/>
                    </a:lnTo>
                    <a:lnTo>
                      <a:pt x="332208" y="319098"/>
                    </a:lnTo>
                    <a:lnTo>
                      <a:pt x="339388" y="329753"/>
                    </a:lnTo>
                    <a:lnTo>
                      <a:pt x="342020" y="342795"/>
                    </a:lnTo>
                    <a:lnTo>
                      <a:pt x="339388" y="355838"/>
                    </a:lnTo>
                    <a:lnTo>
                      <a:pt x="332208" y="366492"/>
                    </a:lnTo>
                    <a:lnTo>
                      <a:pt x="321555" y="373677"/>
                    </a:lnTo>
                    <a:lnTo>
                      <a:pt x="308503" y="376313"/>
                    </a:lnTo>
                    <a:lnTo>
                      <a:pt x="500874" y="376313"/>
                    </a:lnTo>
                    <a:lnTo>
                      <a:pt x="500874" y="309278"/>
                    </a:lnTo>
                    <a:close/>
                  </a:path>
                  <a:path w="501014" h="685800">
                    <a:moveTo>
                      <a:pt x="500874" y="187523"/>
                    </a:moveTo>
                    <a:lnTo>
                      <a:pt x="308503" y="187523"/>
                    </a:lnTo>
                    <a:lnTo>
                      <a:pt x="321555" y="190156"/>
                    </a:lnTo>
                    <a:lnTo>
                      <a:pt x="332208" y="197339"/>
                    </a:lnTo>
                    <a:lnTo>
                      <a:pt x="339388" y="207993"/>
                    </a:lnTo>
                    <a:lnTo>
                      <a:pt x="342020" y="221040"/>
                    </a:lnTo>
                    <a:lnTo>
                      <a:pt x="339388" y="234083"/>
                    </a:lnTo>
                    <a:lnTo>
                      <a:pt x="332208" y="244737"/>
                    </a:lnTo>
                    <a:lnTo>
                      <a:pt x="321555" y="251922"/>
                    </a:lnTo>
                    <a:lnTo>
                      <a:pt x="308503" y="254557"/>
                    </a:lnTo>
                    <a:lnTo>
                      <a:pt x="500874" y="254557"/>
                    </a:lnTo>
                    <a:lnTo>
                      <a:pt x="500874" y="187523"/>
                    </a:lnTo>
                    <a:close/>
                  </a:path>
                </a:pathLst>
              </a:custGeom>
              <a:solidFill>
                <a:srgbClr val="ECCC4A"/>
              </a:solidFill>
            </p:spPr>
            <p:txBody>
              <a:bodyPr wrap="square" lIns="0" tIns="0" rIns="0" bIns="0" rtlCol="0"/>
              <a:lstStyle/>
              <a:p>
                <a:endParaRPr/>
              </a:p>
            </p:txBody>
          </p:sp>
        </p:grpSp>
        <p:sp>
          <p:nvSpPr>
            <p:cNvPr id="36" name="object 33">
              <a:extLst>
                <a:ext uri="{FF2B5EF4-FFF2-40B4-BE49-F238E27FC236}">
                  <a16:creationId xmlns:a16="http://schemas.microsoft.com/office/drawing/2014/main" id="{FC286026-1E8F-EEA7-4742-8D258791147D}"/>
                </a:ext>
              </a:extLst>
            </p:cNvPr>
            <p:cNvSpPr/>
            <p:nvPr userDrawn="1"/>
          </p:nvSpPr>
          <p:spPr>
            <a:xfrm>
              <a:off x="2408390" y="1486007"/>
              <a:ext cx="594995" cy="349250"/>
            </a:xfrm>
            <a:custGeom>
              <a:avLst/>
              <a:gdLst/>
              <a:ahLst/>
              <a:cxnLst/>
              <a:rect l="l" t="t" r="r" b="b"/>
              <a:pathLst>
                <a:path w="594994" h="349250">
                  <a:moveTo>
                    <a:pt x="275983" y="0"/>
                  </a:moveTo>
                  <a:lnTo>
                    <a:pt x="187426" y="0"/>
                  </a:lnTo>
                  <a:lnTo>
                    <a:pt x="187426" y="225310"/>
                  </a:lnTo>
                  <a:lnTo>
                    <a:pt x="184099" y="244017"/>
                  </a:lnTo>
                  <a:lnTo>
                    <a:pt x="174510" y="260235"/>
                  </a:lnTo>
                  <a:lnTo>
                    <a:pt x="159194" y="271653"/>
                  </a:lnTo>
                  <a:lnTo>
                    <a:pt x="138722" y="275971"/>
                  </a:lnTo>
                  <a:lnTo>
                    <a:pt x="119697" y="272453"/>
                  </a:lnTo>
                  <a:lnTo>
                    <a:pt x="104228" y="262140"/>
                  </a:lnTo>
                  <a:lnTo>
                    <a:pt x="93827" y="245465"/>
                  </a:lnTo>
                  <a:lnTo>
                    <a:pt x="90030" y="222846"/>
                  </a:lnTo>
                  <a:lnTo>
                    <a:pt x="93827" y="200152"/>
                  </a:lnTo>
                  <a:lnTo>
                    <a:pt x="104228" y="183311"/>
                  </a:lnTo>
                  <a:lnTo>
                    <a:pt x="119697" y="172834"/>
                  </a:lnTo>
                  <a:lnTo>
                    <a:pt x="138722" y="169227"/>
                  </a:lnTo>
                  <a:lnTo>
                    <a:pt x="159829" y="173837"/>
                  </a:lnTo>
                  <a:lnTo>
                    <a:pt x="175069" y="186194"/>
                  </a:lnTo>
                  <a:lnTo>
                    <a:pt x="184315" y="204101"/>
                  </a:lnTo>
                  <a:lnTo>
                    <a:pt x="187426" y="225310"/>
                  </a:lnTo>
                  <a:lnTo>
                    <a:pt x="187426" y="0"/>
                  </a:lnTo>
                  <a:lnTo>
                    <a:pt x="185458" y="0"/>
                  </a:lnTo>
                  <a:lnTo>
                    <a:pt x="185458" y="122008"/>
                  </a:lnTo>
                  <a:lnTo>
                    <a:pt x="173685" y="111074"/>
                  </a:lnTo>
                  <a:lnTo>
                    <a:pt x="158419" y="102870"/>
                  </a:lnTo>
                  <a:lnTo>
                    <a:pt x="139814" y="97713"/>
                  </a:lnTo>
                  <a:lnTo>
                    <a:pt x="118071" y="95923"/>
                  </a:lnTo>
                  <a:lnTo>
                    <a:pt x="69735" y="105308"/>
                  </a:lnTo>
                  <a:lnTo>
                    <a:pt x="32473" y="131533"/>
                  </a:lnTo>
                  <a:lnTo>
                    <a:pt x="8483" y="171678"/>
                  </a:lnTo>
                  <a:lnTo>
                    <a:pt x="0" y="222846"/>
                  </a:lnTo>
                  <a:lnTo>
                    <a:pt x="7340" y="274281"/>
                  </a:lnTo>
                  <a:lnTo>
                    <a:pt x="28841" y="312940"/>
                  </a:lnTo>
                  <a:lnTo>
                    <a:pt x="63715" y="338035"/>
                  </a:lnTo>
                  <a:lnTo>
                    <a:pt x="111188" y="348780"/>
                  </a:lnTo>
                  <a:lnTo>
                    <a:pt x="132219" y="347967"/>
                  </a:lnTo>
                  <a:lnTo>
                    <a:pt x="153670" y="342950"/>
                  </a:lnTo>
                  <a:lnTo>
                    <a:pt x="173926" y="333222"/>
                  </a:lnTo>
                  <a:lnTo>
                    <a:pt x="191376" y="318287"/>
                  </a:lnTo>
                  <a:lnTo>
                    <a:pt x="195313" y="344360"/>
                  </a:lnTo>
                  <a:lnTo>
                    <a:pt x="275983" y="344360"/>
                  </a:lnTo>
                  <a:lnTo>
                    <a:pt x="275983" y="318287"/>
                  </a:lnTo>
                  <a:lnTo>
                    <a:pt x="275983" y="275971"/>
                  </a:lnTo>
                  <a:lnTo>
                    <a:pt x="275983" y="169227"/>
                  </a:lnTo>
                  <a:lnTo>
                    <a:pt x="275983" y="122008"/>
                  </a:lnTo>
                  <a:lnTo>
                    <a:pt x="275983" y="0"/>
                  </a:lnTo>
                  <a:close/>
                </a:path>
                <a:path w="594994" h="349250">
                  <a:moveTo>
                    <a:pt x="594804" y="101346"/>
                  </a:moveTo>
                  <a:lnTo>
                    <a:pt x="509714" y="101346"/>
                  </a:lnTo>
                  <a:lnTo>
                    <a:pt x="505269" y="127419"/>
                  </a:lnTo>
                  <a:lnTo>
                    <a:pt x="504774" y="126860"/>
                  </a:lnTo>
                  <a:lnTo>
                    <a:pt x="504774" y="222846"/>
                  </a:lnTo>
                  <a:lnTo>
                    <a:pt x="501230" y="243179"/>
                  </a:lnTo>
                  <a:lnTo>
                    <a:pt x="491121" y="260108"/>
                  </a:lnTo>
                  <a:lnTo>
                    <a:pt x="475310" y="271691"/>
                  </a:lnTo>
                  <a:lnTo>
                    <a:pt x="454596" y="275971"/>
                  </a:lnTo>
                  <a:lnTo>
                    <a:pt x="435571" y="272453"/>
                  </a:lnTo>
                  <a:lnTo>
                    <a:pt x="420103" y="262140"/>
                  </a:lnTo>
                  <a:lnTo>
                    <a:pt x="409702" y="245465"/>
                  </a:lnTo>
                  <a:lnTo>
                    <a:pt x="405904" y="222846"/>
                  </a:lnTo>
                  <a:lnTo>
                    <a:pt x="409702" y="200152"/>
                  </a:lnTo>
                  <a:lnTo>
                    <a:pt x="454596" y="169227"/>
                  </a:lnTo>
                  <a:lnTo>
                    <a:pt x="491680" y="183857"/>
                  </a:lnTo>
                  <a:lnTo>
                    <a:pt x="504774" y="222846"/>
                  </a:lnTo>
                  <a:lnTo>
                    <a:pt x="504774" y="126860"/>
                  </a:lnTo>
                  <a:lnTo>
                    <a:pt x="493572" y="114185"/>
                  </a:lnTo>
                  <a:lnTo>
                    <a:pt x="477723" y="104292"/>
                  </a:lnTo>
                  <a:lnTo>
                    <a:pt x="457822" y="98082"/>
                  </a:lnTo>
                  <a:lnTo>
                    <a:pt x="433959" y="95923"/>
                  </a:lnTo>
                  <a:lnTo>
                    <a:pt x="385610" y="105664"/>
                  </a:lnTo>
                  <a:lnTo>
                    <a:pt x="348348" y="132461"/>
                  </a:lnTo>
                  <a:lnTo>
                    <a:pt x="324358" y="172720"/>
                  </a:lnTo>
                  <a:lnTo>
                    <a:pt x="315874" y="222846"/>
                  </a:lnTo>
                  <a:lnTo>
                    <a:pt x="323215" y="271792"/>
                  </a:lnTo>
                  <a:lnTo>
                    <a:pt x="344716" y="310718"/>
                  </a:lnTo>
                  <a:lnTo>
                    <a:pt x="379590" y="337197"/>
                  </a:lnTo>
                  <a:lnTo>
                    <a:pt x="427062" y="348780"/>
                  </a:lnTo>
                  <a:lnTo>
                    <a:pt x="448094" y="347967"/>
                  </a:lnTo>
                  <a:lnTo>
                    <a:pt x="469557" y="342950"/>
                  </a:lnTo>
                  <a:lnTo>
                    <a:pt x="489813" y="333222"/>
                  </a:lnTo>
                  <a:lnTo>
                    <a:pt x="507250" y="318287"/>
                  </a:lnTo>
                  <a:lnTo>
                    <a:pt x="511187" y="344360"/>
                  </a:lnTo>
                  <a:lnTo>
                    <a:pt x="594804" y="344360"/>
                  </a:lnTo>
                  <a:lnTo>
                    <a:pt x="594804" y="318287"/>
                  </a:lnTo>
                  <a:lnTo>
                    <a:pt x="594804" y="275971"/>
                  </a:lnTo>
                  <a:lnTo>
                    <a:pt x="594804" y="169227"/>
                  </a:lnTo>
                  <a:lnTo>
                    <a:pt x="594804" y="127419"/>
                  </a:lnTo>
                  <a:lnTo>
                    <a:pt x="594804" y="101346"/>
                  </a:lnTo>
                  <a:close/>
                </a:path>
              </a:pathLst>
            </a:custGeom>
            <a:solidFill>
              <a:srgbClr val="16151B"/>
            </a:solidFill>
          </p:spPr>
          <p:txBody>
            <a:bodyPr wrap="square" lIns="0" tIns="0" rIns="0" bIns="0" rtlCol="0"/>
            <a:lstStyle/>
            <a:p>
              <a:endParaRPr/>
            </a:p>
          </p:txBody>
        </p:sp>
        <p:sp>
          <p:nvSpPr>
            <p:cNvPr id="37" name="object 34">
              <a:extLst>
                <a:ext uri="{FF2B5EF4-FFF2-40B4-BE49-F238E27FC236}">
                  <a16:creationId xmlns:a16="http://schemas.microsoft.com/office/drawing/2014/main" id="{CC099053-FF8E-C526-F684-CE1FF2978E79}"/>
                </a:ext>
              </a:extLst>
            </p:cNvPr>
            <p:cNvSpPr/>
            <p:nvPr userDrawn="1"/>
          </p:nvSpPr>
          <p:spPr>
            <a:xfrm>
              <a:off x="3056382" y="1581930"/>
              <a:ext cx="699770" cy="253365"/>
            </a:xfrm>
            <a:custGeom>
              <a:avLst/>
              <a:gdLst/>
              <a:ahLst/>
              <a:cxnLst/>
              <a:rect l="l" t="t" r="r" b="b"/>
              <a:pathLst>
                <a:path w="699770" h="253364">
                  <a:moveTo>
                    <a:pt x="383705" y="113157"/>
                  </a:moveTo>
                  <a:lnTo>
                    <a:pt x="376580" y="61442"/>
                  </a:lnTo>
                  <a:lnTo>
                    <a:pt x="356958" y="26327"/>
                  </a:lnTo>
                  <a:lnTo>
                    <a:pt x="327469" y="6337"/>
                  </a:lnTo>
                  <a:lnTo>
                    <a:pt x="290728" y="0"/>
                  </a:lnTo>
                  <a:lnTo>
                    <a:pt x="266852" y="1930"/>
                  </a:lnTo>
                  <a:lnTo>
                    <a:pt x="245414" y="8051"/>
                  </a:lnTo>
                  <a:lnTo>
                    <a:pt x="226466" y="18884"/>
                  </a:lnTo>
                  <a:lnTo>
                    <a:pt x="210058" y="34937"/>
                  </a:lnTo>
                  <a:lnTo>
                    <a:pt x="198869" y="20078"/>
                  </a:lnTo>
                  <a:lnTo>
                    <a:pt x="184404" y="9410"/>
                  </a:lnTo>
                  <a:lnTo>
                    <a:pt x="167640" y="2895"/>
                  </a:lnTo>
                  <a:lnTo>
                    <a:pt x="149542" y="495"/>
                  </a:lnTo>
                  <a:lnTo>
                    <a:pt x="130644" y="2159"/>
                  </a:lnTo>
                  <a:lnTo>
                    <a:pt x="112407" y="7874"/>
                  </a:lnTo>
                  <a:lnTo>
                    <a:pt x="95999" y="17653"/>
                  </a:lnTo>
                  <a:lnTo>
                    <a:pt x="82638" y="31496"/>
                  </a:lnTo>
                  <a:lnTo>
                    <a:pt x="76250" y="5422"/>
                  </a:lnTo>
                  <a:lnTo>
                    <a:pt x="0" y="5422"/>
                  </a:lnTo>
                  <a:lnTo>
                    <a:pt x="0" y="248437"/>
                  </a:lnTo>
                  <a:lnTo>
                    <a:pt x="90017" y="248437"/>
                  </a:lnTo>
                  <a:lnTo>
                    <a:pt x="90017" y="115125"/>
                  </a:lnTo>
                  <a:lnTo>
                    <a:pt x="93078" y="97840"/>
                  </a:lnTo>
                  <a:lnTo>
                    <a:pt x="100482" y="85725"/>
                  </a:lnTo>
                  <a:lnTo>
                    <a:pt x="110642" y="78600"/>
                  </a:lnTo>
                  <a:lnTo>
                    <a:pt x="121996" y="76263"/>
                  </a:lnTo>
                  <a:lnTo>
                    <a:pt x="132842" y="78155"/>
                  </a:lnTo>
                  <a:lnTo>
                    <a:pt x="140881" y="84442"/>
                  </a:lnTo>
                  <a:lnTo>
                    <a:pt x="145872" y="95973"/>
                  </a:lnTo>
                  <a:lnTo>
                    <a:pt x="147586" y="113639"/>
                  </a:lnTo>
                  <a:lnTo>
                    <a:pt x="147586" y="248437"/>
                  </a:lnTo>
                  <a:lnTo>
                    <a:pt x="236613" y="248437"/>
                  </a:lnTo>
                  <a:lnTo>
                    <a:pt x="236613" y="114630"/>
                  </a:lnTo>
                  <a:lnTo>
                    <a:pt x="239395" y="97663"/>
                  </a:lnTo>
                  <a:lnTo>
                    <a:pt x="246646" y="86220"/>
                  </a:lnTo>
                  <a:lnTo>
                    <a:pt x="256755" y="79768"/>
                  </a:lnTo>
                  <a:lnTo>
                    <a:pt x="268097" y="77736"/>
                  </a:lnTo>
                  <a:lnTo>
                    <a:pt x="277622" y="79756"/>
                  </a:lnTo>
                  <a:lnTo>
                    <a:pt x="285623" y="86093"/>
                  </a:lnTo>
                  <a:lnTo>
                    <a:pt x="291134" y="97243"/>
                  </a:lnTo>
                  <a:lnTo>
                    <a:pt x="293179" y="113639"/>
                  </a:lnTo>
                  <a:lnTo>
                    <a:pt x="293179" y="248437"/>
                  </a:lnTo>
                  <a:lnTo>
                    <a:pt x="383705" y="248437"/>
                  </a:lnTo>
                  <a:lnTo>
                    <a:pt x="383705" y="113157"/>
                  </a:lnTo>
                  <a:close/>
                </a:path>
                <a:path w="699770" h="253364">
                  <a:moveTo>
                    <a:pt x="699592" y="5422"/>
                  </a:moveTo>
                  <a:lnTo>
                    <a:pt x="614489" y="5422"/>
                  </a:lnTo>
                  <a:lnTo>
                    <a:pt x="610057" y="31496"/>
                  </a:lnTo>
                  <a:lnTo>
                    <a:pt x="609561" y="30937"/>
                  </a:lnTo>
                  <a:lnTo>
                    <a:pt x="609561" y="126923"/>
                  </a:lnTo>
                  <a:lnTo>
                    <a:pt x="606018" y="147256"/>
                  </a:lnTo>
                  <a:lnTo>
                    <a:pt x="595909" y="164185"/>
                  </a:lnTo>
                  <a:lnTo>
                    <a:pt x="580085" y="175768"/>
                  </a:lnTo>
                  <a:lnTo>
                    <a:pt x="559384" y="180047"/>
                  </a:lnTo>
                  <a:lnTo>
                    <a:pt x="540359" y="176530"/>
                  </a:lnTo>
                  <a:lnTo>
                    <a:pt x="524891" y="166217"/>
                  </a:lnTo>
                  <a:lnTo>
                    <a:pt x="514489" y="149542"/>
                  </a:lnTo>
                  <a:lnTo>
                    <a:pt x="510692" y="126923"/>
                  </a:lnTo>
                  <a:lnTo>
                    <a:pt x="514489" y="104228"/>
                  </a:lnTo>
                  <a:lnTo>
                    <a:pt x="559384" y="73304"/>
                  </a:lnTo>
                  <a:lnTo>
                    <a:pt x="596468" y="87934"/>
                  </a:lnTo>
                  <a:lnTo>
                    <a:pt x="609561" y="126923"/>
                  </a:lnTo>
                  <a:lnTo>
                    <a:pt x="609561" y="30937"/>
                  </a:lnTo>
                  <a:lnTo>
                    <a:pt x="598360" y="18262"/>
                  </a:lnTo>
                  <a:lnTo>
                    <a:pt x="582510" y="8369"/>
                  </a:lnTo>
                  <a:lnTo>
                    <a:pt x="562610" y="2159"/>
                  </a:lnTo>
                  <a:lnTo>
                    <a:pt x="538734" y="0"/>
                  </a:lnTo>
                  <a:lnTo>
                    <a:pt x="490397" y="9740"/>
                  </a:lnTo>
                  <a:lnTo>
                    <a:pt x="453136" y="36537"/>
                  </a:lnTo>
                  <a:lnTo>
                    <a:pt x="429145" y="76796"/>
                  </a:lnTo>
                  <a:lnTo>
                    <a:pt x="420662" y="126923"/>
                  </a:lnTo>
                  <a:lnTo>
                    <a:pt x="428002" y="175869"/>
                  </a:lnTo>
                  <a:lnTo>
                    <a:pt x="449503" y="214795"/>
                  </a:lnTo>
                  <a:lnTo>
                    <a:pt x="484378" y="241274"/>
                  </a:lnTo>
                  <a:lnTo>
                    <a:pt x="531850" y="252857"/>
                  </a:lnTo>
                  <a:lnTo>
                    <a:pt x="552881" y="252044"/>
                  </a:lnTo>
                  <a:lnTo>
                    <a:pt x="574332" y="247027"/>
                  </a:lnTo>
                  <a:lnTo>
                    <a:pt x="594588" y="237299"/>
                  </a:lnTo>
                  <a:lnTo>
                    <a:pt x="612038" y="222364"/>
                  </a:lnTo>
                  <a:lnTo>
                    <a:pt x="615975" y="248437"/>
                  </a:lnTo>
                  <a:lnTo>
                    <a:pt x="699592" y="248437"/>
                  </a:lnTo>
                  <a:lnTo>
                    <a:pt x="699592" y="222364"/>
                  </a:lnTo>
                  <a:lnTo>
                    <a:pt x="699592" y="180047"/>
                  </a:lnTo>
                  <a:lnTo>
                    <a:pt x="699592" y="73304"/>
                  </a:lnTo>
                  <a:lnTo>
                    <a:pt x="699592" y="31496"/>
                  </a:lnTo>
                  <a:lnTo>
                    <a:pt x="699592" y="5422"/>
                  </a:lnTo>
                  <a:close/>
                </a:path>
              </a:pathLst>
            </a:custGeom>
            <a:solidFill>
              <a:srgbClr val="16151B"/>
            </a:solidFill>
          </p:spPr>
          <p:txBody>
            <a:bodyPr wrap="square" lIns="0" tIns="0" rIns="0" bIns="0" rtlCol="0"/>
            <a:lstStyle/>
            <a:p>
              <a:endParaRPr/>
            </a:p>
          </p:txBody>
        </p:sp>
        <p:grpSp>
          <p:nvGrpSpPr>
            <p:cNvPr id="38" name="object 35">
              <a:extLst>
                <a:ext uri="{FF2B5EF4-FFF2-40B4-BE49-F238E27FC236}">
                  <a16:creationId xmlns:a16="http://schemas.microsoft.com/office/drawing/2014/main" id="{3FACF570-C1C5-AC51-8D81-70DF9B9CBD3A}"/>
                </a:ext>
              </a:extLst>
            </p:cNvPr>
            <p:cNvGrpSpPr/>
            <p:nvPr userDrawn="1"/>
          </p:nvGrpSpPr>
          <p:grpSpPr>
            <a:xfrm>
              <a:off x="2408394" y="1917302"/>
              <a:ext cx="1346835" cy="229235"/>
              <a:chOff x="2408394" y="1917302"/>
              <a:chExt cx="1346835" cy="229235"/>
            </a:xfrm>
          </p:grpSpPr>
          <p:pic>
            <p:nvPicPr>
              <p:cNvPr id="39" name="object 36">
                <a:extLst>
                  <a:ext uri="{FF2B5EF4-FFF2-40B4-BE49-F238E27FC236}">
                    <a16:creationId xmlns:a16="http://schemas.microsoft.com/office/drawing/2014/main" id="{DC43127A-927D-F49D-DFED-577F8706471C}"/>
                  </a:ext>
                </a:extLst>
              </p:cNvPr>
              <p:cNvPicPr/>
              <p:nvPr/>
            </p:nvPicPr>
            <p:blipFill>
              <a:blip r:embed="rId5" cstate="print"/>
              <a:stretch>
                <a:fillRect/>
              </a:stretch>
            </p:blipFill>
            <p:spPr>
              <a:xfrm>
                <a:off x="2408394" y="1980530"/>
                <a:ext cx="182884" cy="165795"/>
              </a:xfrm>
              <a:prstGeom prst="rect">
                <a:avLst/>
              </a:prstGeom>
            </p:spPr>
          </p:pic>
          <p:sp>
            <p:nvSpPr>
              <p:cNvPr id="40" name="object 37">
                <a:extLst>
                  <a:ext uri="{FF2B5EF4-FFF2-40B4-BE49-F238E27FC236}">
                    <a16:creationId xmlns:a16="http://schemas.microsoft.com/office/drawing/2014/main" id="{21105199-3D4E-A456-9C2E-44B482B460F0}"/>
                  </a:ext>
                </a:extLst>
              </p:cNvPr>
              <p:cNvSpPr/>
              <p:nvPr/>
            </p:nvSpPr>
            <p:spPr>
              <a:xfrm>
                <a:off x="2626144" y="1917312"/>
                <a:ext cx="223520" cy="226695"/>
              </a:xfrm>
              <a:custGeom>
                <a:avLst/>
                <a:gdLst/>
                <a:ahLst/>
                <a:cxnLst/>
                <a:rect l="l" t="t" r="r" b="b"/>
                <a:pathLst>
                  <a:path w="223519" h="226694">
                    <a:moveTo>
                      <a:pt x="58712" y="0"/>
                    </a:moveTo>
                    <a:lnTo>
                      <a:pt x="0" y="0"/>
                    </a:lnTo>
                    <a:lnTo>
                      <a:pt x="0" y="226110"/>
                    </a:lnTo>
                    <a:lnTo>
                      <a:pt x="58712" y="226110"/>
                    </a:lnTo>
                    <a:lnTo>
                      <a:pt x="58712" y="0"/>
                    </a:lnTo>
                    <a:close/>
                  </a:path>
                  <a:path w="223519" h="226694">
                    <a:moveTo>
                      <a:pt x="223240" y="109029"/>
                    </a:moveTo>
                    <a:lnTo>
                      <a:pt x="93560" y="109029"/>
                    </a:lnTo>
                    <a:lnTo>
                      <a:pt x="93560" y="156133"/>
                    </a:lnTo>
                    <a:lnTo>
                      <a:pt x="223240" y="156133"/>
                    </a:lnTo>
                    <a:lnTo>
                      <a:pt x="223240" y="109029"/>
                    </a:lnTo>
                    <a:close/>
                  </a:path>
                </a:pathLst>
              </a:custGeom>
              <a:solidFill>
                <a:srgbClr val="16151B"/>
              </a:solidFill>
            </p:spPr>
            <p:txBody>
              <a:bodyPr wrap="square" lIns="0" tIns="0" rIns="0" bIns="0" rtlCol="0"/>
              <a:lstStyle/>
              <a:p>
                <a:pPr algn="l" rtl="0"/>
                <a:endParaRPr/>
              </a:p>
            </p:txBody>
          </p:sp>
          <p:pic>
            <p:nvPicPr>
              <p:cNvPr id="41" name="object 38">
                <a:extLst>
                  <a:ext uri="{FF2B5EF4-FFF2-40B4-BE49-F238E27FC236}">
                    <a16:creationId xmlns:a16="http://schemas.microsoft.com/office/drawing/2014/main" id="{4EB5E15C-752D-5AC3-EC91-858A3A4F278A}"/>
                  </a:ext>
                </a:extLst>
              </p:cNvPr>
              <p:cNvPicPr/>
              <p:nvPr/>
            </p:nvPicPr>
            <p:blipFill>
              <a:blip r:embed="rId6" cstate="print"/>
              <a:stretch>
                <a:fillRect/>
              </a:stretch>
            </p:blipFill>
            <p:spPr>
              <a:xfrm>
                <a:off x="2875544" y="1980530"/>
                <a:ext cx="182894" cy="165795"/>
              </a:xfrm>
              <a:prstGeom prst="rect">
                <a:avLst/>
              </a:prstGeom>
            </p:spPr>
          </p:pic>
          <p:pic>
            <p:nvPicPr>
              <p:cNvPr id="42" name="object 39">
                <a:extLst>
                  <a:ext uri="{FF2B5EF4-FFF2-40B4-BE49-F238E27FC236}">
                    <a16:creationId xmlns:a16="http://schemas.microsoft.com/office/drawing/2014/main" id="{D8AB179D-0F10-9F91-9AA3-6A5A0776E32F}"/>
                  </a:ext>
                </a:extLst>
              </p:cNvPr>
              <p:cNvPicPr/>
              <p:nvPr/>
            </p:nvPicPr>
            <p:blipFill>
              <a:blip r:embed="rId7" cstate="print"/>
              <a:stretch>
                <a:fillRect/>
              </a:stretch>
            </p:blipFill>
            <p:spPr>
              <a:xfrm>
                <a:off x="3093312" y="1980528"/>
                <a:ext cx="251604" cy="162895"/>
              </a:xfrm>
              <a:prstGeom prst="rect">
                <a:avLst/>
              </a:prstGeom>
            </p:spPr>
          </p:pic>
          <p:pic>
            <p:nvPicPr>
              <p:cNvPr id="43" name="object 40">
                <a:extLst>
                  <a:ext uri="{FF2B5EF4-FFF2-40B4-BE49-F238E27FC236}">
                    <a16:creationId xmlns:a16="http://schemas.microsoft.com/office/drawing/2014/main" id="{F956C07E-050A-28C9-EFE9-20DA4CF302DA}"/>
                  </a:ext>
                </a:extLst>
              </p:cNvPr>
              <p:cNvPicPr/>
              <p:nvPr/>
            </p:nvPicPr>
            <p:blipFill>
              <a:blip r:embed="rId8" cstate="print"/>
              <a:stretch>
                <a:fillRect/>
              </a:stretch>
            </p:blipFill>
            <p:spPr>
              <a:xfrm>
                <a:off x="3369159" y="1980530"/>
                <a:ext cx="182894" cy="165795"/>
              </a:xfrm>
              <a:prstGeom prst="rect">
                <a:avLst/>
              </a:prstGeom>
            </p:spPr>
          </p:pic>
          <p:pic>
            <p:nvPicPr>
              <p:cNvPr id="44" name="object 41">
                <a:extLst>
                  <a:ext uri="{FF2B5EF4-FFF2-40B4-BE49-F238E27FC236}">
                    <a16:creationId xmlns:a16="http://schemas.microsoft.com/office/drawing/2014/main" id="{3F7D683D-8AB3-B096-D430-BD16134847C4}"/>
                  </a:ext>
                </a:extLst>
              </p:cNvPr>
              <p:cNvPicPr/>
              <p:nvPr/>
            </p:nvPicPr>
            <p:blipFill>
              <a:blip r:embed="rId9" cstate="print"/>
              <a:stretch>
                <a:fillRect/>
              </a:stretch>
            </p:blipFill>
            <p:spPr>
              <a:xfrm>
                <a:off x="3586920" y="1980214"/>
                <a:ext cx="167743" cy="163209"/>
              </a:xfrm>
              <a:prstGeom prst="rect">
                <a:avLst/>
              </a:prstGeom>
            </p:spPr>
          </p:pic>
        </p:grpSp>
      </p:grpSp>
      <p:pic>
        <p:nvPicPr>
          <p:cNvPr id="46" name="Picture 45">
            <a:extLst>
              <a:ext uri="{FF2B5EF4-FFF2-40B4-BE49-F238E27FC236}">
                <a16:creationId xmlns:a16="http://schemas.microsoft.com/office/drawing/2014/main" id="{A7CFF274-F120-6322-B2A4-5A7B37A5F9E5}"/>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9078101" y="1335434"/>
            <a:ext cx="2719586" cy="2719586"/>
          </a:xfrm>
          <a:prstGeom prst="rect">
            <a:avLst/>
          </a:prstGeom>
        </p:spPr>
      </p:pic>
      <p:pic>
        <p:nvPicPr>
          <p:cNvPr id="47" name="Picture 46">
            <a:extLst>
              <a:ext uri="{FF2B5EF4-FFF2-40B4-BE49-F238E27FC236}">
                <a16:creationId xmlns:a16="http://schemas.microsoft.com/office/drawing/2014/main" id="{9FCE53D7-8557-9F4D-B20B-D2BA9BE0705B}"/>
              </a:ext>
            </a:extLst>
          </p:cNvPr>
          <p:cNvPicPr>
            <a:picLocks noChangeAspect="1"/>
          </p:cNvPicPr>
          <p:nvPr userDrawn="1"/>
        </p:nvPicPr>
        <p:blipFill>
          <a:blip r:embed="rId11" cstate="print">
            <a:extLst>
              <a:ext uri="{BEBA8EAE-BF5A-486C-A8C5-ECC9F3942E4B}">
                <a14:imgProps xmlns:a14="http://schemas.microsoft.com/office/drawing/2010/main">
                  <a14:imgLayer r:embed="rId12">
                    <a14:imgEffect>
                      <a14:artisticPencilSketch/>
                    </a14:imgEffect>
                  </a14:imgLayer>
                </a14:imgProps>
              </a:ext>
              <a:ext uri="{28A0092B-C50C-407E-A947-70E740481C1C}">
                <a14:useLocalDpi xmlns:a14="http://schemas.microsoft.com/office/drawing/2010/main" val="0"/>
              </a:ext>
            </a:extLst>
          </a:blip>
          <a:stretch>
            <a:fillRect/>
          </a:stretch>
        </p:blipFill>
        <p:spPr>
          <a:xfrm>
            <a:off x="14731072" y="6453659"/>
            <a:ext cx="1446464" cy="1446464"/>
          </a:xfrm>
          <a:prstGeom prst="rect">
            <a:avLst/>
          </a:prstGeom>
        </p:spPr>
      </p:pic>
    </p:spTree>
    <p:extLst>
      <p:ext uri="{BB962C8B-B14F-4D97-AF65-F5344CB8AC3E}">
        <p14:creationId xmlns:p14="http://schemas.microsoft.com/office/powerpoint/2010/main" val="33347185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age breaker - style 1 green">
    <p:bg>
      <p:bgPr>
        <a:solidFill>
          <a:schemeClr val="accent2"/>
        </a:solidFill>
        <a:effectLst/>
      </p:bgPr>
    </p:bg>
    <p:spTree>
      <p:nvGrpSpPr>
        <p:cNvPr id="1" name=""/>
        <p:cNvGrpSpPr/>
        <p:nvPr/>
      </p:nvGrpSpPr>
      <p:grpSpPr>
        <a:xfrm>
          <a:off x="0" y="0"/>
          <a:ext cx="0" cy="0"/>
          <a:chOff x="0" y="0"/>
          <a:chExt cx="0" cy="0"/>
        </a:xfrm>
      </p:grpSpPr>
      <p:sp>
        <p:nvSpPr>
          <p:cNvPr id="7" name="object 3">
            <a:extLst>
              <a:ext uri="{FF2B5EF4-FFF2-40B4-BE49-F238E27FC236}">
                <a16:creationId xmlns:a16="http://schemas.microsoft.com/office/drawing/2014/main" id="{15A4C935-CE71-2800-7A68-24C1437C2F3C}"/>
              </a:ext>
            </a:extLst>
          </p:cNvPr>
          <p:cNvSpPr/>
          <p:nvPr userDrawn="1"/>
        </p:nvSpPr>
        <p:spPr>
          <a:xfrm>
            <a:off x="6355927" y="3527310"/>
            <a:ext cx="7392669" cy="5014248"/>
          </a:xfrm>
          <a:custGeom>
            <a:avLst/>
            <a:gdLst>
              <a:gd name="connsiteX0" fmla="*/ 8083041 w 8083041"/>
              <a:gd name="connsiteY0" fmla="*/ 0 h 1997467"/>
              <a:gd name="connsiteX1" fmla="*/ 0 w 8083041"/>
              <a:gd name="connsiteY1" fmla="*/ 0 h 1997467"/>
              <a:gd name="connsiteX2" fmla="*/ 0 w 8083041"/>
              <a:gd name="connsiteY2" fmla="*/ 1564957 h 1997467"/>
              <a:gd name="connsiteX3" fmla="*/ 401778 w 8083041"/>
              <a:gd name="connsiteY3" fmla="*/ 1564957 h 1997467"/>
              <a:gd name="connsiteX4" fmla="*/ 656587 w 8083041"/>
              <a:gd name="connsiteY4" fmla="*/ 1997467 h 1997467"/>
              <a:gd name="connsiteX5" fmla="*/ 843084 w 8083041"/>
              <a:gd name="connsiteY5" fmla="*/ 1564957 h 1997467"/>
              <a:gd name="connsiteX6" fmla="*/ 4145523 w 8083041"/>
              <a:gd name="connsiteY6" fmla="*/ 1564957 h 1997467"/>
              <a:gd name="connsiteX7" fmla="*/ 8083041 w 8083041"/>
              <a:gd name="connsiteY7" fmla="*/ 0 h 1997467"/>
              <a:gd name="connsiteX0" fmla="*/ 4145522 w 4145523"/>
              <a:gd name="connsiteY0" fmla="*/ 0 h 1997467"/>
              <a:gd name="connsiteX1" fmla="*/ 0 w 4145523"/>
              <a:gd name="connsiteY1" fmla="*/ 0 h 1997467"/>
              <a:gd name="connsiteX2" fmla="*/ 0 w 4145523"/>
              <a:gd name="connsiteY2" fmla="*/ 1564957 h 1997467"/>
              <a:gd name="connsiteX3" fmla="*/ 401778 w 4145523"/>
              <a:gd name="connsiteY3" fmla="*/ 1564957 h 1997467"/>
              <a:gd name="connsiteX4" fmla="*/ 656587 w 4145523"/>
              <a:gd name="connsiteY4" fmla="*/ 1997467 h 1997467"/>
              <a:gd name="connsiteX5" fmla="*/ 843084 w 4145523"/>
              <a:gd name="connsiteY5" fmla="*/ 1564957 h 1997467"/>
              <a:gd name="connsiteX6" fmla="*/ 4145523 w 4145523"/>
              <a:gd name="connsiteY6" fmla="*/ 1564957 h 1997467"/>
              <a:gd name="connsiteX7" fmla="*/ 4145522 w 4145523"/>
              <a:gd name="connsiteY7" fmla="*/ 0 h 1997467"/>
              <a:gd name="connsiteX0" fmla="*/ 2943955 w 4145523"/>
              <a:gd name="connsiteY0" fmla="*/ 0 h 1997467"/>
              <a:gd name="connsiteX1" fmla="*/ 0 w 4145523"/>
              <a:gd name="connsiteY1" fmla="*/ 0 h 1997467"/>
              <a:gd name="connsiteX2" fmla="*/ 0 w 4145523"/>
              <a:gd name="connsiteY2" fmla="*/ 1564957 h 1997467"/>
              <a:gd name="connsiteX3" fmla="*/ 401778 w 4145523"/>
              <a:gd name="connsiteY3" fmla="*/ 1564957 h 1997467"/>
              <a:gd name="connsiteX4" fmla="*/ 656587 w 4145523"/>
              <a:gd name="connsiteY4" fmla="*/ 1997467 h 1997467"/>
              <a:gd name="connsiteX5" fmla="*/ 843084 w 4145523"/>
              <a:gd name="connsiteY5" fmla="*/ 1564957 h 1997467"/>
              <a:gd name="connsiteX6" fmla="*/ 4145523 w 4145523"/>
              <a:gd name="connsiteY6" fmla="*/ 1564957 h 1997467"/>
              <a:gd name="connsiteX7" fmla="*/ 2943955 w 4145523"/>
              <a:gd name="connsiteY7" fmla="*/ 0 h 1997467"/>
              <a:gd name="connsiteX0" fmla="*/ 2943955 w 2943955"/>
              <a:gd name="connsiteY0" fmla="*/ 0 h 1997467"/>
              <a:gd name="connsiteX1" fmla="*/ 0 w 2943955"/>
              <a:gd name="connsiteY1" fmla="*/ 0 h 1997467"/>
              <a:gd name="connsiteX2" fmla="*/ 0 w 2943955"/>
              <a:gd name="connsiteY2" fmla="*/ 1564957 h 1997467"/>
              <a:gd name="connsiteX3" fmla="*/ 401778 w 2943955"/>
              <a:gd name="connsiteY3" fmla="*/ 1564957 h 1997467"/>
              <a:gd name="connsiteX4" fmla="*/ 656587 w 2943955"/>
              <a:gd name="connsiteY4" fmla="*/ 1997467 h 1997467"/>
              <a:gd name="connsiteX5" fmla="*/ 843084 w 2943955"/>
              <a:gd name="connsiteY5" fmla="*/ 1564957 h 1997467"/>
              <a:gd name="connsiteX6" fmla="*/ 2928842 w 2943955"/>
              <a:gd name="connsiteY6" fmla="*/ 1564957 h 1997467"/>
              <a:gd name="connsiteX7" fmla="*/ 2943955 w 2943955"/>
              <a:gd name="connsiteY7" fmla="*/ 0 h 1997467"/>
              <a:gd name="connsiteX0" fmla="*/ 2943955 w 2943955"/>
              <a:gd name="connsiteY0" fmla="*/ 0 h 1997467"/>
              <a:gd name="connsiteX1" fmla="*/ 0 w 2943955"/>
              <a:gd name="connsiteY1" fmla="*/ 113355 h 1997467"/>
              <a:gd name="connsiteX2" fmla="*/ 0 w 2943955"/>
              <a:gd name="connsiteY2" fmla="*/ 1564957 h 1997467"/>
              <a:gd name="connsiteX3" fmla="*/ 401778 w 2943955"/>
              <a:gd name="connsiteY3" fmla="*/ 1564957 h 1997467"/>
              <a:gd name="connsiteX4" fmla="*/ 656587 w 2943955"/>
              <a:gd name="connsiteY4" fmla="*/ 1997467 h 1997467"/>
              <a:gd name="connsiteX5" fmla="*/ 843084 w 2943955"/>
              <a:gd name="connsiteY5" fmla="*/ 1564957 h 1997467"/>
              <a:gd name="connsiteX6" fmla="*/ 2928842 w 2943955"/>
              <a:gd name="connsiteY6" fmla="*/ 1564957 h 1997467"/>
              <a:gd name="connsiteX7" fmla="*/ 2943955 w 2943955"/>
              <a:gd name="connsiteY7" fmla="*/ 0 h 1997467"/>
              <a:gd name="connsiteX0" fmla="*/ 2936398 w 2936398"/>
              <a:gd name="connsiteY0" fmla="*/ 7557 h 1884112"/>
              <a:gd name="connsiteX1" fmla="*/ 0 w 2936398"/>
              <a:gd name="connsiteY1" fmla="*/ 0 h 1884112"/>
              <a:gd name="connsiteX2" fmla="*/ 0 w 2936398"/>
              <a:gd name="connsiteY2" fmla="*/ 1451602 h 1884112"/>
              <a:gd name="connsiteX3" fmla="*/ 401778 w 2936398"/>
              <a:gd name="connsiteY3" fmla="*/ 1451602 h 1884112"/>
              <a:gd name="connsiteX4" fmla="*/ 656587 w 2936398"/>
              <a:gd name="connsiteY4" fmla="*/ 1884112 h 1884112"/>
              <a:gd name="connsiteX5" fmla="*/ 843084 w 2936398"/>
              <a:gd name="connsiteY5" fmla="*/ 1451602 h 1884112"/>
              <a:gd name="connsiteX6" fmla="*/ 2928842 w 2936398"/>
              <a:gd name="connsiteY6" fmla="*/ 1451602 h 1884112"/>
              <a:gd name="connsiteX7" fmla="*/ 2936398 w 2936398"/>
              <a:gd name="connsiteY7" fmla="*/ 7557 h 1884112"/>
              <a:gd name="connsiteX0" fmla="*/ 2936401 w 2936401"/>
              <a:gd name="connsiteY0" fmla="*/ 0 h 2052111"/>
              <a:gd name="connsiteX1" fmla="*/ 0 w 2936401"/>
              <a:gd name="connsiteY1" fmla="*/ 167999 h 2052111"/>
              <a:gd name="connsiteX2" fmla="*/ 0 w 2936401"/>
              <a:gd name="connsiteY2" fmla="*/ 1619601 h 2052111"/>
              <a:gd name="connsiteX3" fmla="*/ 401778 w 2936401"/>
              <a:gd name="connsiteY3" fmla="*/ 1619601 h 2052111"/>
              <a:gd name="connsiteX4" fmla="*/ 656587 w 2936401"/>
              <a:gd name="connsiteY4" fmla="*/ 2052111 h 2052111"/>
              <a:gd name="connsiteX5" fmla="*/ 843084 w 2936401"/>
              <a:gd name="connsiteY5" fmla="*/ 1619601 h 2052111"/>
              <a:gd name="connsiteX6" fmla="*/ 2928842 w 2936401"/>
              <a:gd name="connsiteY6" fmla="*/ 1619601 h 2052111"/>
              <a:gd name="connsiteX7" fmla="*/ 2936401 w 2936401"/>
              <a:gd name="connsiteY7" fmla="*/ 0 h 2052111"/>
              <a:gd name="connsiteX0" fmla="*/ 2936401 w 2936401"/>
              <a:gd name="connsiteY0" fmla="*/ 35276 h 2087387"/>
              <a:gd name="connsiteX1" fmla="*/ 0 w 2936401"/>
              <a:gd name="connsiteY1" fmla="*/ 0 h 2087387"/>
              <a:gd name="connsiteX2" fmla="*/ 0 w 2936401"/>
              <a:gd name="connsiteY2" fmla="*/ 1654877 h 2087387"/>
              <a:gd name="connsiteX3" fmla="*/ 401778 w 2936401"/>
              <a:gd name="connsiteY3" fmla="*/ 1654877 h 2087387"/>
              <a:gd name="connsiteX4" fmla="*/ 656587 w 2936401"/>
              <a:gd name="connsiteY4" fmla="*/ 2087387 h 2087387"/>
              <a:gd name="connsiteX5" fmla="*/ 843084 w 2936401"/>
              <a:gd name="connsiteY5" fmla="*/ 1654877 h 2087387"/>
              <a:gd name="connsiteX6" fmla="*/ 2928842 w 2936401"/>
              <a:gd name="connsiteY6" fmla="*/ 1654877 h 2087387"/>
              <a:gd name="connsiteX7" fmla="*/ 2936401 w 2936401"/>
              <a:gd name="connsiteY7" fmla="*/ 35276 h 2087387"/>
              <a:gd name="connsiteX0" fmla="*/ 2936401 w 2936401"/>
              <a:gd name="connsiteY0" fmla="*/ 0 h 2052111"/>
              <a:gd name="connsiteX1" fmla="*/ 9243 w 2936401"/>
              <a:gd name="connsiteY1" fmla="*/ 1683 h 2052111"/>
              <a:gd name="connsiteX2" fmla="*/ 0 w 2936401"/>
              <a:gd name="connsiteY2" fmla="*/ 1619601 h 2052111"/>
              <a:gd name="connsiteX3" fmla="*/ 401778 w 2936401"/>
              <a:gd name="connsiteY3" fmla="*/ 1619601 h 2052111"/>
              <a:gd name="connsiteX4" fmla="*/ 656587 w 2936401"/>
              <a:gd name="connsiteY4" fmla="*/ 2052111 h 2052111"/>
              <a:gd name="connsiteX5" fmla="*/ 843084 w 2936401"/>
              <a:gd name="connsiteY5" fmla="*/ 1619601 h 2052111"/>
              <a:gd name="connsiteX6" fmla="*/ 2928842 w 2936401"/>
              <a:gd name="connsiteY6" fmla="*/ 1619601 h 2052111"/>
              <a:gd name="connsiteX7" fmla="*/ 2936401 w 2936401"/>
              <a:gd name="connsiteY7" fmla="*/ 0 h 2052111"/>
              <a:gd name="connsiteX0" fmla="*/ 2937953 w 2937953"/>
              <a:gd name="connsiteY0" fmla="*/ 0 h 2052111"/>
              <a:gd name="connsiteX1" fmla="*/ 0 w 2937953"/>
              <a:gd name="connsiteY1" fmla="*/ 7081 h 2052111"/>
              <a:gd name="connsiteX2" fmla="*/ 1552 w 2937953"/>
              <a:gd name="connsiteY2" fmla="*/ 1619601 h 2052111"/>
              <a:gd name="connsiteX3" fmla="*/ 403330 w 2937953"/>
              <a:gd name="connsiteY3" fmla="*/ 1619601 h 2052111"/>
              <a:gd name="connsiteX4" fmla="*/ 658139 w 2937953"/>
              <a:gd name="connsiteY4" fmla="*/ 2052111 h 2052111"/>
              <a:gd name="connsiteX5" fmla="*/ 844636 w 2937953"/>
              <a:gd name="connsiteY5" fmla="*/ 1619601 h 2052111"/>
              <a:gd name="connsiteX6" fmla="*/ 2930394 w 2937953"/>
              <a:gd name="connsiteY6" fmla="*/ 1619601 h 2052111"/>
              <a:gd name="connsiteX7" fmla="*/ 2937953 w 2937953"/>
              <a:gd name="connsiteY7" fmla="*/ 0 h 2052111"/>
              <a:gd name="connsiteX0" fmla="*/ 2937953 w 2937953"/>
              <a:gd name="connsiteY0" fmla="*/ 0 h 2052111"/>
              <a:gd name="connsiteX1" fmla="*/ 0 w 2937953"/>
              <a:gd name="connsiteY1" fmla="*/ 7081 h 2052111"/>
              <a:gd name="connsiteX2" fmla="*/ 1552 w 2937953"/>
              <a:gd name="connsiteY2" fmla="*/ 1619601 h 2052111"/>
              <a:gd name="connsiteX3" fmla="*/ 403330 w 2937953"/>
              <a:gd name="connsiteY3" fmla="*/ 1619601 h 2052111"/>
              <a:gd name="connsiteX4" fmla="*/ 658139 w 2937953"/>
              <a:gd name="connsiteY4" fmla="*/ 2052111 h 2052111"/>
              <a:gd name="connsiteX5" fmla="*/ 1103739 w 2937953"/>
              <a:gd name="connsiteY5" fmla="*/ 1619601 h 2052111"/>
              <a:gd name="connsiteX6" fmla="*/ 2930394 w 2937953"/>
              <a:gd name="connsiteY6" fmla="*/ 1619601 h 2052111"/>
              <a:gd name="connsiteX7" fmla="*/ 2937953 w 2937953"/>
              <a:gd name="connsiteY7" fmla="*/ 0 h 2052111"/>
              <a:gd name="connsiteX0" fmla="*/ 2937953 w 2937953"/>
              <a:gd name="connsiteY0" fmla="*/ 0 h 2052111"/>
              <a:gd name="connsiteX1" fmla="*/ 0 w 2937953"/>
              <a:gd name="connsiteY1" fmla="*/ 7081 h 2052111"/>
              <a:gd name="connsiteX2" fmla="*/ 1552 w 2937953"/>
              <a:gd name="connsiteY2" fmla="*/ 1619601 h 2052111"/>
              <a:gd name="connsiteX3" fmla="*/ 608454 w 2937953"/>
              <a:gd name="connsiteY3" fmla="*/ 1624999 h 2052111"/>
              <a:gd name="connsiteX4" fmla="*/ 658139 w 2937953"/>
              <a:gd name="connsiteY4" fmla="*/ 2052111 h 2052111"/>
              <a:gd name="connsiteX5" fmla="*/ 1103739 w 2937953"/>
              <a:gd name="connsiteY5" fmla="*/ 1619601 h 2052111"/>
              <a:gd name="connsiteX6" fmla="*/ 2930394 w 2937953"/>
              <a:gd name="connsiteY6" fmla="*/ 1619601 h 2052111"/>
              <a:gd name="connsiteX7" fmla="*/ 2937953 w 2937953"/>
              <a:gd name="connsiteY7" fmla="*/ 0 h 2052111"/>
              <a:gd name="connsiteX0" fmla="*/ 2937953 w 2937953"/>
              <a:gd name="connsiteY0" fmla="*/ 0 h 2057509"/>
              <a:gd name="connsiteX1" fmla="*/ 0 w 2937953"/>
              <a:gd name="connsiteY1" fmla="*/ 7081 h 2057509"/>
              <a:gd name="connsiteX2" fmla="*/ 1552 w 2937953"/>
              <a:gd name="connsiteY2" fmla="*/ 1619601 h 2057509"/>
              <a:gd name="connsiteX3" fmla="*/ 608454 w 2937953"/>
              <a:gd name="connsiteY3" fmla="*/ 1624999 h 2057509"/>
              <a:gd name="connsiteX4" fmla="*/ 857864 w 2937953"/>
              <a:gd name="connsiteY4" fmla="*/ 2057509 h 2057509"/>
              <a:gd name="connsiteX5" fmla="*/ 1103739 w 2937953"/>
              <a:gd name="connsiteY5" fmla="*/ 1619601 h 2057509"/>
              <a:gd name="connsiteX6" fmla="*/ 2930394 w 2937953"/>
              <a:gd name="connsiteY6" fmla="*/ 1619601 h 2057509"/>
              <a:gd name="connsiteX7" fmla="*/ 2937953 w 2937953"/>
              <a:gd name="connsiteY7" fmla="*/ 0 h 2057509"/>
              <a:gd name="connsiteX0" fmla="*/ 2937953 w 2937953"/>
              <a:gd name="connsiteY0" fmla="*/ 0 h 1992733"/>
              <a:gd name="connsiteX1" fmla="*/ 0 w 2937953"/>
              <a:gd name="connsiteY1" fmla="*/ 7081 h 1992733"/>
              <a:gd name="connsiteX2" fmla="*/ 1552 w 2937953"/>
              <a:gd name="connsiteY2" fmla="*/ 1619601 h 1992733"/>
              <a:gd name="connsiteX3" fmla="*/ 608454 w 2937953"/>
              <a:gd name="connsiteY3" fmla="*/ 1624999 h 1992733"/>
              <a:gd name="connsiteX4" fmla="*/ 863265 w 2937953"/>
              <a:gd name="connsiteY4" fmla="*/ 1992733 h 1992733"/>
              <a:gd name="connsiteX5" fmla="*/ 1103739 w 2937953"/>
              <a:gd name="connsiteY5" fmla="*/ 1619601 h 1992733"/>
              <a:gd name="connsiteX6" fmla="*/ 2930394 w 2937953"/>
              <a:gd name="connsiteY6" fmla="*/ 1619601 h 1992733"/>
              <a:gd name="connsiteX7" fmla="*/ 2937953 w 2937953"/>
              <a:gd name="connsiteY7" fmla="*/ 0 h 199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7953" h="1992733">
                <a:moveTo>
                  <a:pt x="2937953" y="0"/>
                </a:moveTo>
                <a:lnTo>
                  <a:pt x="0" y="7081"/>
                </a:lnTo>
                <a:cubicBezTo>
                  <a:pt x="517" y="544588"/>
                  <a:pt x="1035" y="1082094"/>
                  <a:pt x="1552" y="1619601"/>
                </a:cubicBezTo>
                <a:lnTo>
                  <a:pt x="608454" y="1624999"/>
                </a:lnTo>
                <a:lnTo>
                  <a:pt x="863265" y="1992733"/>
                </a:lnTo>
                <a:lnTo>
                  <a:pt x="1103739" y="1619601"/>
                </a:lnTo>
                <a:lnTo>
                  <a:pt x="2930394" y="1619601"/>
                </a:lnTo>
                <a:cubicBezTo>
                  <a:pt x="2930394" y="1097949"/>
                  <a:pt x="2937953" y="521652"/>
                  <a:pt x="2937953" y="0"/>
                </a:cubicBezTo>
                <a:close/>
              </a:path>
            </a:pathLst>
          </a:custGeom>
          <a:solidFill>
            <a:schemeClr val="accent4"/>
          </a:solidFill>
        </p:spPr>
        <p:txBody>
          <a:bodyPr wrap="square" lIns="0" tIns="0" rIns="0" bIns="0" rtlCol="0"/>
          <a:lstStyle/>
          <a:p>
            <a:pPr algn="l" rtl="0"/>
            <a:endParaRPr>
              <a:latin typeface="Tahoma" panose="020B0604030504040204" pitchFamily="34" charset="0"/>
              <a:ea typeface="Tahoma" panose="020B0604030504040204" pitchFamily="34" charset="0"/>
              <a:cs typeface="Tahoma" panose="020B0604030504040204" pitchFamily="34" charset="0"/>
            </a:endParaRPr>
          </a:p>
        </p:txBody>
      </p:sp>
      <p:grpSp>
        <p:nvGrpSpPr>
          <p:cNvPr id="8" name="Group 7">
            <a:extLst>
              <a:ext uri="{FF2B5EF4-FFF2-40B4-BE49-F238E27FC236}">
                <a16:creationId xmlns:a16="http://schemas.microsoft.com/office/drawing/2014/main" id="{47D2F9F3-6210-AD87-CA49-115F9ADEF296}"/>
              </a:ext>
            </a:extLst>
          </p:cNvPr>
          <p:cNvGrpSpPr/>
          <p:nvPr userDrawn="1"/>
        </p:nvGrpSpPr>
        <p:grpSpPr>
          <a:xfrm>
            <a:off x="11568062" y="7431974"/>
            <a:ext cx="3043779" cy="704622"/>
            <a:chOff x="3346450" y="2637355"/>
            <a:chExt cx="1481234" cy="342900"/>
          </a:xfrm>
        </p:grpSpPr>
        <p:pic>
          <p:nvPicPr>
            <p:cNvPr id="9" name="Graphic 8">
              <a:extLst>
                <a:ext uri="{FF2B5EF4-FFF2-40B4-BE49-F238E27FC236}">
                  <a16:creationId xmlns:a16="http://schemas.microsoft.com/office/drawing/2014/main" id="{BCAEC7EA-FE24-78F6-D799-963765665D1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46450" y="2637355"/>
              <a:ext cx="342900" cy="342900"/>
            </a:xfrm>
            <a:prstGeom prst="rect">
              <a:avLst/>
            </a:prstGeom>
          </p:spPr>
        </p:pic>
        <p:pic>
          <p:nvPicPr>
            <p:cNvPr id="10" name="Graphic 9">
              <a:extLst>
                <a:ext uri="{FF2B5EF4-FFF2-40B4-BE49-F238E27FC236}">
                  <a16:creationId xmlns:a16="http://schemas.microsoft.com/office/drawing/2014/main" id="{454E631F-1B44-341A-0809-644A9CE76A6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15617" y="2637355"/>
              <a:ext cx="342900" cy="342900"/>
            </a:xfrm>
            <a:prstGeom prst="rect">
              <a:avLst/>
            </a:prstGeom>
          </p:spPr>
        </p:pic>
        <p:pic>
          <p:nvPicPr>
            <p:cNvPr id="11" name="Graphic 10">
              <a:extLst>
                <a:ext uri="{FF2B5EF4-FFF2-40B4-BE49-F238E27FC236}">
                  <a16:creationId xmlns:a16="http://schemas.microsoft.com/office/drawing/2014/main" id="{69D95918-22E0-8A97-3F4D-6553957E1A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84784" y="2637355"/>
              <a:ext cx="342900" cy="342900"/>
            </a:xfrm>
            <a:prstGeom prst="rect">
              <a:avLst/>
            </a:prstGeom>
          </p:spPr>
        </p:pic>
      </p:grpSp>
      <p:sp>
        <p:nvSpPr>
          <p:cNvPr id="12" name="object 7">
            <a:extLst>
              <a:ext uri="{FF2B5EF4-FFF2-40B4-BE49-F238E27FC236}">
                <a16:creationId xmlns:a16="http://schemas.microsoft.com/office/drawing/2014/main" id="{4C8ACD21-9BEF-8909-D0E9-C83CBACB02D1}"/>
              </a:ext>
            </a:extLst>
          </p:cNvPr>
          <p:cNvSpPr txBox="1">
            <a:spLocks noGrp="1"/>
          </p:cNvSpPr>
          <p:nvPr>
            <p:ph type="title"/>
          </p:nvPr>
        </p:nvSpPr>
        <p:spPr>
          <a:xfrm>
            <a:off x="7437295" y="4283075"/>
            <a:ext cx="5300345" cy="1974850"/>
          </a:xfrm>
          <a:prstGeom prst="rect">
            <a:avLst/>
          </a:prstGeom>
        </p:spPr>
        <p:txBody>
          <a:bodyPr vert="horz" wrap="square" lIns="0" tIns="233679" rIns="0" bIns="0" rtlCol="0">
            <a:spAutoFit/>
          </a:bodyPr>
          <a:lstStyle/>
          <a:p>
            <a:pPr marL="12700">
              <a:lnSpc>
                <a:spcPct val="100000"/>
              </a:lnSpc>
              <a:spcBef>
                <a:spcPts val="1839"/>
              </a:spcBef>
            </a:pPr>
            <a:r>
              <a:rPr sz="6400" spc="-120">
                <a:solidFill>
                  <a:srgbClr val="231F1F"/>
                </a:solidFill>
              </a:rPr>
              <a:t>Page</a:t>
            </a:r>
            <a:r>
              <a:rPr sz="6400" spc="-245">
                <a:solidFill>
                  <a:srgbClr val="231F1F"/>
                </a:solidFill>
              </a:rPr>
              <a:t> </a:t>
            </a:r>
            <a:r>
              <a:rPr sz="6400" spc="-155">
                <a:solidFill>
                  <a:srgbClr val="231F1F"/>
                </a:solidFill>
              </a:rPr>
              <a:t>breaker</a:t>
            </a:r>
            <a:endParaRPr sz="6400"/>
          </a:p>
          <a:p>
            <a:pPr marL="578485">
              <a:lnSpc>
                <a:spcPct val="100000"/>
              </a:lnSpc>
              <a:spcBef>
                <a:spcPts val="1120"/>
              </a:spcBef>
            </a:pPr>
            <a:r>
              <a:rPr sz="4000" b="0">
                <a:solidFill>
                  <a:srgbClr val="231E1F"/>
                </a:solidFill>
                <a:latin typeface="Nexa Book"/>
                <a:cs typeface="Nexa Book"/>
              </a:rPr>
              <a:t>subtitle</a:t>
            </a:r>
            <a:r>
              <a:rPr sz="4000" b="0" spc="-20">
                <a:solidFill>
                  <a:srgbClr val="231E1F"/>
                </a:solidFill>
                <a:latin typeface="Nexa Book"/>
                <a:cs typeface="Nexa Book"/>
              </a:rPr>
              <a:t> </a:t>
            </a:r>
            <a:r>
              <a:rPr sz="4000" b="0">
                <a:solidFill>
                  <a:srgbClr val="231E1F"/>
                </a:solidFill>
                <a:latin typeface="Nexa Book"/>
                <a:cs typeface="Nexa Book"/>
              </a:rPr>
              <a:t>goes</a:t>
            </a:r>
            <a:r>
              <a:rPr sz="4000" b="0" spc="-20">
                <a:solidFill>
                  <a:srgbClr val="231E1F"/>
                </a:solidFill>
                <a:latin typeface="Nexa Book"/>
                <a:cs typeface="Nexa Book"/>
              </a:rPr>
              <a:t> here</a:t>
            </a:r>
            <a:endParaRPr sz="4000">
              <a:latin typeface="Nexa Book"/>
              <a:cs typeface="Nexa Book"/>
            </a:endParaRPr>
          </a:p>
        </p:txBody>
      </p:sp>
    </p:spTree>
    <p:extLst>
      <p:ext uri="{BB962C8B-B14F-4D97-AF65-F5344CB8AC3E}">
        <p14:creationId xmlns:p14="http://schemas.microsoft.com/office/powerpoint/2010/main" val="42296651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page - style 1">
    <p:spTree>
      <p:nvGrpSpPr>
        <p:cNvPr id="1" name=""/>
        <p:cNvGrpSpPr/>
        <p:nvPr/>
      </p:nvGrpSpPr>
      <p:grpSpPr>
        <a:xfrm>
          <a:off x="0" y="0"/>
          <a:ext cx="0" cy="0"/>
          <a:chOff x="0" y="0"/>
          <a:chExt cx="0" cy="0"/>
        </a:xfrm>
      </p:grpSpPr>
      <p:grpSp>
        <p:nvGrpSpPr>
          <p:cNvPr id="7" name="object 4">
            <a:extLst>
              <a:ext uri="{FF2B5EF4-FFF2-40B4-BE49-F238E27FC236}">
                <a16:creationId xmlns:a16="http://schemas.microsoft.com/office/drawing/2014/main" id="{A5B14E3C-A92D-8FC0-B1AA-E0FBD1142665}"/>
              </a:ext>
            </a:extLst>
          </p:cNvPr>
          <p:cNvGrpSpPr/>
          <p:nvPr userDrawn="1"/>
        </p:nvGrpSpPr>
        <p:grpSpPr>
          <a:xfrm>
            <a:off x="9978031" y="3408879"/>
            <a:ext cx="7984596" cy="7899676"/>
            <a:chOff x="9978031" y="3408879"/>
            <a:chExt cx="7984596" cy="7899676"/>
          </a:xfrm>
        </p:grpSpPr>
        <p:pic>
          <p:nvPicPr>
            <p:cNvPr id="8" name="object 5">
              <a:extLst>
                <a:ext uri="{FF2B5EF4-FFF2-40B4-BE49-F238E27FC236}">
                  <a16:creationId xmlns:a16="http://schemas.microsoft.com/office/drawing/2014/main" id="{1C660666-FE37-EC4B-15D4-747BA8FB7B15}"/>
                </a:ext>
              </a:extLst>
            </p:cNvPr>
            <p:cNvPicPr/>
            <p:nvPr/>
          </p:nvPicPr>
          <p:blipFill>
            <a:blip r:embed="rId2" cstate="print"/>
            <a:stretch>
              <a:fillRect/>
            </a:stretch>
          </p:blipFill>
          <p:spPr>
            <a:xfrm>
              <a:off x="10110327" y="3408879"/>
              <a:ext cx="7852300" cy="7899676"/>
            </a:xfrm>
            <a:prstGeom prst="rect">
              <a:avLst/>
            </a:prstGeom>
          </p:spPr>
        </p:pic>
        <p:sp>
          <p:nvSpPr>
            <p:cNvPr id="9" name="object 6">
              <a:extLst>
                <a:ext uri="{FF2B5EF4-FFF2-40B4-BE49-F238E27FC236}">
                  <a16:creationId xmlns:a16="http://schemas.microsoft.com/office/drawing/2014/main" id="{7456D748-F2F1-F569-928D-09AD7157F158}"/>
                </a:ext>
              </a:extLst>
            </p:cNvPr>
            <p:cNvSpPr/>
            <p:nvPr/>
          </p:nvSpPr>
          <p:spPr>
            <a:xfrm>
              <a:off x="9978031" y="6202512"/>
              <a:ext cx="2772410" cy="3938904"/>
            </a:xfrm>
            <a:custGeom>
              <a:avLst/>
              <a:gdLst/>
              <a:ahLst/>
              <a:cxnLst/>
              <a:rect l="l" t="t" r="r" b="b"/>
              <a:pathLst>
                <a:path w="2772409" h="3938904">
                  <a:moveTo>
                    <a:pt x="2771884" y="0"/>
                  </a:moveTo>
                  <a:lnTo>
                    <a:pt x="0" y="0"/>
                  </a:lnTo>
                  <a:lnTo>
                    <a:pt x="0" y="3938455"/>
                  </a:lnTo>
                  <a:lnTo>
                    <a:pt x="2771884" y="3938455"/>
                  </a:lnTo>
                  <a:lnTo>
                    <a:pt x="2771884" y="0"/>
                  </a:lnTo>
                  <a:close/>
                </a:path>
              </a:pathLst>
            </a:custGeom>
            <a:solidFill>
              <a:srgbClr val="F4CC1C"/>
            </a:solidFill>
          </p:spPr>
          <p:txBody>
            <a:bodyPr wrap="square" lIns="0" tIns="0" rIns="0" bIns="0" rtlCol="0"/>
            <a:lstStyle/>
            <a:p>
              <a:endParaRPr/>
            </a:p>
          </p:txBody>
        </p:sp>
        <p:sp>
          <p:nvSpPr>
            <p:cNvPr id="10" name="object 7">
              <a:extLst>
                <a:ext uri="{FF2B5EF4-FFF2-40B4-BE49-F238E27FC236}">
                  <a16:creationId xmlns:a16="http://schemas.microsoft.com/office/drawing/2014/main" id="{13D83B2F-AD3B-FB7F-18F6-29180A660114}"/>
                </a:ext>
              </a:extLst>
            </p:cNvPr>
            <p:cNvSpPr/>
            <p:nvPr/>
          </p:nvSpPr>
          <p:spPr>
            <a:xfrm>
              <a:off x="10809135" y="4904403"/>
              <a:ext cx="1119505" cy="4362450"/>
            </a:xfrm>
            <a:custGeom>
              <a:avLst/>
              <a:gdLst/>
              <a:ahLst/>
              <a:cxnLst/>
              <a:rect l="l" t="t" r="r" b="b"/>
              <a:pathLst>
                <a:path w="1119504" h="4362450">
                  <a:moveTo>
                    <a:pt x="422579" y="20307"/>
                  </a:moveTo>
                  <a:lnTo>
                    <a:pt x="372821" y="406"/>
                  </a:lnTo>
                  <a:lnTo>
                    <a:pt x="343306" y="45618"/>
                  </a:lnTo>
                  <a:lnTo>
                    <a:pt x="302387" y="74612"/>
                  </a:lnTo>
                  <a:lnTo>
                    <a:pt x="256349" y="90373"/>
                  </a:lnTo>
                  <a:lnTo>
                    <a:pt x="211416" y="95897"/>
                  </a:lnTo>
                  <a:lnTo>
                    <a:pt x="173863" y="94208"/>
                  </a:lnTo>
                  <a:lnTo>
                    <a:pt x="135255" y="83947"/>
                  </a:lnTo>
                  <a:lnTo>
                    <a:pt x="98539" y="64084"/>
                  </a:lnTo>
                  <a:lnTo>
                    <a:pt x="69100" y="35737"/>
                  </a:lnTo>
                  <a:lnTo>
                    <a:pt x="52336" y="0"/>
                  </a:lnTo>
                  <a:lnTo>
                    <a:pt x="0" y="11569"/>
                  </a:lnTo>
                  <a:lnTo>
                    <a:pt x="36156" y="79883"/>
                  </a:lnTo>
                  <a:lnTo>
                    <a:pt x="69761" y="110083"/>
                  </a:lnTo>
                  <a:lnTo>
                    <a:pt x="113360" y="133578"/>
                  </a:lnTo>
                  <a:lnTo>
                    <a:pt x="166687" y="147332"/>
                  </a:lnTo>
                  <a:lnTo>
                    <a:pt x="204444" y="149834"/>
                  </a:lnTo>
                  <a:lnTo>
                    <a:pt x="247891" y="146596"/>
                  </a:lnTo>
                  <a:lnTo>
                    <a:pt x="291045" y="136601"/>
                  </a:lnTo>
                  <a:lnTo>
                    <a:pt x="331990" y="119418"/>
                  </a:lnTo>
                  <a:lnTo>
                    <a:pt x="368833" y="94602"/>
                  </a:lnTo>
                  <a:lnTo>
                    <a:pt x="399669" y="61709"/>
                  </a:lnTo>
                  <a:lnTo>
                    <a:pt x="422579" y="20307"/>
                  </a:lnTo>
                  <a:close/>
                </a:path>
                <a:path w="1119504" h="4362450">
                  <a:moveTo>
                    <a:pt x="787920" y="4120832"/>
                  </a:moveTo>
                  <a:lnTo>
                    <a:pt x="783005" y="4072140"/>
                  </a:lnTo>
                  <a:lnTo>
                    <a:pt x="768934" y="4026801"/>
                  </a:lnTo>
                  <a:lnTo>
                    <a:pt x="746658" y="3985755"/>
                  </a:lnTo>
                  <a:lnTo>
                    <a:pt x="717156" y="3950004"/>
                  </a:lnTo>
                  <a:lnTo>
                    <a:pt x="681405" y="3920502"/>
                  </a:lnTo>
                  <a:lnTo>
                    <a:pt x="640372" y="3898227"/>
                  </a:lnTo>
                  <a:lnTo>
                    <a:pt x="595020" y="3884155"/>
                  </a:lnTo>
                  <a:lnTo>
                    <a:pt x="546328" y="3879253"/>
                  </a:lnTo>
                  <a:lnTo>
                    <a:pt x="497649" y="3884155"/>
                  </a:lnTo>
                  <a:lnTo>
                    <a:pt x="452297" y="3898227"/>
                  </a:lnTo>
                  <a:lnTo>
                    <a:pt x="411264" y="3920502"/>
                  </a:lnTo>
                  <a:lnTo>
                    <a:pt x="375500" y="3950004"/>
                  </a:lnTo>
                  <a:lnTo>
                    <a:pt x="345998" y="3985755"/>
                  </a:lnTo>
                  <a:lnTo>
                    <a:pt x="323723" y="4026801"/>
                  </a:lnTo>
                  <a:lnTo>
                    <a:pt x="309651" y="4072140"/>
                  </a:lnTo>
                  <a:lnTo>
                    <a:pt x="304736" y="4120832"/>
                  </a:lnTo>
                  <a:lnTo>
                    <a:pt x="309651" y="4169524"/>
                  </a:lnTo>
                  <a:lnTo>
                    <a:pt x="323723" y="4214863"/>
                  </a:lnTo>
                  <a:lnTo>
                    <a:pt x="345998" y="4255897"/>
                  </a:lnTo>
                  <a:lnTo>
                    <a:pt x="375500" y="4291660"/>
                  </a:lnTo>
                  <a:lnTo>
                    <a:pt x="411264" y="4321162"/>
                  </a:lnTo>
                  <a:lnTo>
                    <a:pt x="452297" y="4343425"/>
                  </a:lnTo>
                  <a:lnTo>
                    <a:pt x="497649" y="4357509"/>
                  </a:lnTo>
                  <a:lnTo>
                    <a:pt x="546328" y="4362412"/>
                  </a:lnTo>
                  <a:lnTo>
                    <a:pt x="595020" y="4357509"/>
                  </a:lnTo>
                  <a:lnTo>
                    <a:pt x="640372" y="4343425"/>
                  </a:lnTo>
                  <a:lnTo>
                    <a:pt x="681405" y="4321162"/>
                  </a:lnTo>
                  <a:lnTo>
                    <a:pt x="717156" y="4291660"/>
                  </a:lnTo>
                  <a:lnTo>
                    <a:pt x="746658" y="4255897"/>
                  </a:lnTo>
                  <a:lnTo>
                    <a:pt x="768934" y="4214863"/>
                  </a:lnTo>
                  <a:lnTo>
                    <a:pt x="783005" y="4169524"/>
                  </a:lnTo>
                  <a:lnTo>
                    <a:pt x="787920" y="4120832"/>
                  </a:lnTo>
                  <a:close/>
                </a:path>
                <a:path w="1119504" h="4362450">
                  <a:moveTo>
                    <a:pt x="787920" y="3243072"/>
                  </a:moveTo>
                  <a:lnTo>
                    <a:pt x="783005" y="3194393"/>
                  </a:lnTo>
                  <a:lnTo>
                    <a:pt x="768934" y="3149041"/>
                  </a:lnTo>
                  <a:lnTo>
                    <a:pt x="746658" y="3108007"/>
                  </a:lnTo>
                  <a:lnTo>
                    <a:pt x="717156" y="3072257"/>
                  </a:lnTo>
                  <a:lnTo>
                    <a:pt x="681405" y="3042755"/>
                  </a:lnTo>
                  <a:lnTo>
                    <a:pt x="640372" y="3020479"/>
                  </a:lnTo>
                  <a:lnTo>
                    <a:pt x="595020" y="3006407"/>
                  </a:lnTo>
                  <a:lnTo>
                    <a:pt x="546328" y="3001492"/>
                  </a:lnTo>
                  <a:lnTo>
                    <a:pt x="497649" y="3006407"/>
                  </a:lnTo>
                  <a:lnTo>
                    <a:pt x="452297" y="3020479"/>
                  </a:lnTo>
                  <a:lnTo>
                    <a:pt x="411264" y="3042755"/>
                  </a:lnTo>
                  <a:lnTo>
                    <a:pt x="375500" y="3072257"/>
                  </a:lnTo>
                  <a:lnTo>
                    <a:pt x="345998" y="3108007"/>
                  </a:lnTo>
                  <a:lnTo>
                    <a:pt x="323723" y="3149041"/>
                  </a:lnTo>
                  <a:lnTo>
                    <a:pt x="309651" y="3194393"/>
                  </a:lnTo>
                  <a:lnTo>
                    <a:pt x="304736" y="3243072"/>
                  </a:lnTo>
                  <a:lnTo>
                    <a:pt x="309651" y="3291763"/>
                  </a:lnTo>
                  <a:lnTo>
                    <a:pt x="323723" y="3337115"/>
                  </a:lnTo>
                  <a:lnTo>
                    <a:pt x="345998" y="3378149"/>
                  </a:lnTo>
                  <a:lnTo>
                    <a:pt x="375500" y="3413899"/>
                  </a:lnTo>
                  <a:lnTo>
                    <a:pt x="411264" y="3443401"/>
                  </a:lnTo>
                  <a:lnTo>
                    <a:pt x="452297" y="3465677"/>
                  </a:lnTo>
                  <a:lnTo>
                    <a:pt x="497649" y="3479749"/>
                  </a:lnTo>
                  <a:lnTo>
                    <a:pt x="546328" y="3484664"/>
                  </a:lnTo>
                  <a:lnTo>
                    <a:pt x="595020" y="3479749"/>
                  </a:lnTo>
                  <a:lnTo>
                    <a:pt x="640372" y="3465677"/>
                  </a:lnTo>
                  <a:lnTo>
                    <a:pt x="681405" y="3443401"/>
                  </a:lnTo>
                  <a:lnTo>
                    <a:pt x="717156" y="3413899"/>
                  </a:lnTo>
                  <a:lnTo>
                    <a:pt x="746658" y="3378149"/>
                  </a:lnTo>
                  <a:lnTo>
                    <a:pt x="768934" y="3337115"/>
                  </a:lnTo>
                  <a:lnTo>
                    <a:pt x="783005" y="3291763"/>
                  </a:lnTo>
                  <a:lnTo>
                    <a:pt x="787920" y="3243072"/>
                  </a:lnTo>
                  <a:close/>
                </a:path>
                <a:path w="1119504" h="4362450">
                  <a:moveTo>
                    <a:pt x="787920" y="2365337"/>
                  </a:moveTo>
                  <a:lnTo>
                    <a:pt x="783005" y="2316645"/>
                  </a:lnTo>
                  <a:lnTo>
                    <a:pt x="768934" y="2271293"/>
                  </a:lnTo>
                  <a:lnTo>
                    <a:pt x="746658" y="2230259"/>
                  </a:lnTo>
                  <a:lnTo>
                    <a:pt x="717156" y="2194509"/>
                  </a:lnTo>
                  <a:lnTo>
                    <a:pt x="681405" y="2165007"/>
                  </a:lnTo>
                  <a:lnTo>
                    <a:pt x="640372" y="2142731"/>
                  </a:lnTo>
                  <a:lnTo>
                    <a:pt x="595020" y="2128659"/>
                  </a:lnTo>
                  <a:lnTo>
                    <a:pt x="546328" y="2123744"/>
                  </a:lnTo>
                  <a:lnTo>
                    <a:pt x="497649" y="2128659"/>
                  </a:lnTo>
                  <a:lnTo>
                    <a:pt x="452297" y="2142731"/>
                  </a:lnTo>
                  <a:lnTo>
                    <a:pt x="411264" y="2165007"/>
                  </a:lnTo>
                  <a:lnTo>
                    <a:pt x="375500" y="2194509"/>
                  </a:lnTo>
                  <a:lnTo>
                    <a:pt x="345998" y="2230259"/>
                  </a:lnTo>
                  <a:lnTo>
                    <a:pt x="323723" y="2271293"/>
                  </a:lnTo>
                  <a:lnTo>
                    <a:pt x="309651" y="2316645"/>
                  </a:lnTo>
                  <a:lnTo>
                    <a:pt x="304736" y="2365337"/>
                  </a:lnTo>
                  <a:lnTo>
                    <a:pt x="309651" y="2414016"/>
                  </a:lnTo>
                  <a:lnTo>
                    <a:pt x="323723" y="2459367"/>
                  </a:lnTo>
                  <a:lnTo>
                    <a:pt x="345998" y="2500401"/>
                  </a:lnTo>
                  <a:lnTo>
                    <a:pt x="375500" y="2536152"/>
                  </a:lnTo>
                  <a:lnTo>
                    <a:pt x="411264" y="2565654"/>
                  </a:lnTo>
                  <a:lnTo>
                    <a:pt x="452297" y="2587929"/>
                  </a:lnTo>
                  <a:lnTo>
                    <a:pt x="497649" y="2602014"/>
                  </a:lnTo>
                  <a:lnTo>
                    <a:pt x="546328" y="2606916"/>
                  </a:lnTo>
                  <a:lnTo>
                    <a:pt x="595020" y="2602014"/>
                  </a:lnTo>
                  <a:lnTo>
                    <a:pt x="640372" y="2587929"/>
                  </a:lnTo>
                  <a:lnTo>
                    <a:pt x="681405" y="2565654"/>
                  </a:lnTo>
                  <a:lnTo>
                    <a:pt x="717156" y="2536152"/>
                  </a:lnTo>
                  <a:lnTo>
                    <a:pt x="746658" y="2500401"/>
                  </a:lnTo>
                  <a:lnTo>
                    <a:pt x="768934" y="2459367"/>
                  </a:lnTo>
                  <a:lnTo>
                    <a:pt x="783005" y="2414016"/>
                  </a:lnTo>
                  <a:lnTo>
                    <a:pt x="787920" y="2365337"/>
                  </a:lnTo>
                  <a:close/>
                </a:path>
                <a:path w="1119504" h="4362450">
                  <a:moveTo>
                    <a:pt x="828446" y="719112"/>
                  </a:moveTo>
                  <a:lnTo>
                    <a:pt x="824026" y="669810"/>
                  </a:lnTo>
                  <a:lnTo>
                    <a:pt x="811288" y="623404"/>
                  </a:lnTo>
                  <a:lnTo>
                    <a:pt x="790994" y="580669"/>
                  </a:lnTo>
                  <a:lnTo>
                    <a:pt x="763943" y="542391"/>
                  </a:lnTo>
                  <a:lnTo>
                    <a:pt x="730872" y="509333"/>
                  </a:lnTo>
                  <a:lnTo>
                    <a:pt x="692594" y="482269"/>
                  </a:lnTo>
                  <a:lnTo>
                    <a:pt x="649859" y="461987"/>
                  </a:lnTo>
                  <a:lnTo>
                    <a:pt x="603453" y="449249"/>
                  </a:lnTo>
                  <a:lnTo>
                    <a:pt x="554151" y="444830"/>
                  </a:lnTo>
                  <a:lnTo>
                    <a:pt x="504850" y="449249"/>
                  </a:lnTo>
                  <a:lnTo>
                    <a:pt x="458444" y="461987"/>
                  </a:lnTo>
                  <a:lnTo>
                    <a:pt x="415709" y="482269"/>
                  </a:lnTo>
                  <a:lnTo>
                    <a:pt x="377431" y="509333"/>
                  </a:lnTo>
                  <a:lnTo>
                    <a:pt x="344373" y="542391"/>
                  </a:lnTo>
                  <a:lnTo>
                    <a:pt x="317309" y="580669"/>
                  </a:lnTo>
                  <a:lnTo>
                    <a:pt x="297027" y="623404"/>
                  </a:lnTo>
                  <a:lnTo>
                    <a:pt x="284289" y="669810"/>
                  </a:lnTo>
                  <a:lnTo>
                    <a:pt x="279869" y="719112"/>
                  </a:lnTo>
                  <a:lnTo>
                    <a:pt x="284289" y="768413"/>
                  </a:lnTo>
                  <a:lnTo>
                    <a:pt x="297027" y="814819"/>
                  </a:lnTo>
                  <a:lnTo>
                    <a:pt x="317309" y="857554"/>
                  </a:lnTo>
                  <a:lnTo>
                    <a:pt x="344373" y="895832"/>
                  </a:lnTo>
                  <a:lnTo>
                    <a:pt x="377431" y="928890"/>
                  </a:lnTo>
                  <a:lnTo>
                    <a:pt x="415709" y="955954"/>
                  </a:lnTo>
                  <a:lnTo>
                    <a:pt x="458444" y="976236"/>
                  </a:lnTo>
                  <a:lnTo>
                    <a:pt x="504850" y="988974"/>
                  </a:lnTo>
                  <a:lnTo>
                    <a:pt x="554151" y="993394"/>
                  </a:lnTo>
                  <a:lnTo>
                    <a:pt x="603453" y="988974"/>
                  </a:lnTo>
                  <a:lnTo>
                    <a:pt x="649859" y="976236"/>
                  </a:lnTo>
                  <a:lnTo>
                    <a:pt x="692594" y="955954"/>
                  </a:lnTo>
                  <a:lnTo>
                    <a:pt x="730872" y="928890"/>
                  </a:lnTo>
                  <a:lnTo>
                    <a:pt x="763943" y="895832"/>
                  </a:lnTo>
                  <a:lnTo>
                    <a:pt x="790994" y="857554"/>
                  </a:lnTo>
                  <a:lnTo>
                    <a:pt x="811288" y="814819"/>
                  </a:lnTo>
                  <a:lnTo>
                    <a:pt x="824026" y="768413"/>
                  </a:lnTo>
                  <a:lnTo>
                    <a:pt x="828446" y="719112"/>
                  </a:lnTo>
                  <a:close/>
                </a:path>
                <a:path w="1119504" h="4362450">
                  <a:moveTo>
                    <a:pt x="1119212" y="20307"/>
                  </a:moveTo>
                  <a:lnTo>
                    <a:pt x="1069454" y="406"/>
                  </a:lnTo>
                  <a:lnTo>
                    <a:pt x="1039939" y="45631"/>
                  </a:lnTo>
                  <a:lnTo>
                    <a:pt x="999020" y="74612"/>
                  </a:lnTo>
                  <a:lnTo>
                    <a:pt x="952969" y="90360"/>
                  </a:lnTo>
                  <a:lnTo>
                    <a:pt x="908037" y="95897"/>
                  </a:lnTo>
                  <a:lnTo>
                    <a:pt x="870483" y="94208"/>
                  </a:lnTo>
                  <a:lnTo>
                    <a:pt x="831888" y="83947"/>
                  </a:lnTo>
                  <a:lnTo>
                    <a:pt x="795172" y="64084"/>
                  </a:lnTo>
                  <a:lnTo>
                    <a:pt x="765733" y="35737"/>
                  </a:lnTo>
                  <a:lnTo>
                    <a:pt x="748957" y="0"/>
                  </a:lnTo>
                  <a:lnTo>
                    <a:pt x="696645" y="11569"/>
                  </a:lnTo>
                  <a:lnTo>
                    <a:pt x="732790" y="79883"/>
                  </a:lnTo>
                  <a:lnTo>
                    <a:pt x="766406" y="110083"/>
                  </a:lnTo>
                  <a:lnTo>
                    <a:pt x="810006" y="133578"/>
                  </a:lnTo>
                  <a:lnTo>
                    <a:pt x="863320" y="147332"/>
                  </a:lnTo>
                  <a:lnTo>
                    <a:pt x="901077" y="149834"/>
                  </a:lnTo>
                  <a:lnTo>
                    <a:pt x="944524" y="146596"/>
                  </a:lnTo>
                  <a:lnTo>
                    <a:pt x="987679" y="136601"/>
                  </a:lnTo>
                  <a:lnTo>
                    <a:pt x="1028623" y="119418"/>
                  </a:lnTo>
                  <a:lnTo>
                    <a:pt x="1065466" y="94602"/>
                  </a:lnTo>
                  <a:lnTo>
                    <a:pt x="1096302" y="61709"/>
                  </a:lnTo>
                  <a:lnTo>
                    <a:pt x="1119212" y="20307"/>
                  </a:lnTo>
                  <a:close/>
                </a:path>
              </a:pathLst>
            </a:custGeom>
            <a:solidFill>
              <a:srgbClr val="FFFFFF"/>
            </a:solidFill>
          </p:spPr>
          <p:txBody>
            <a:bodyPr wrap="square" lIns="0" tIns="0" rIns="0" bIns="0" rtlCol="0"/>
            <a:lstStyle/>
            <a:p>
              <a:endParaRPr/>
            </a:p>
          </p:txBody>
        </p:sp>
      </p:grpSp>
      <p:pic>
        <p:nvPicPr>
          <p:cNvPr id="11" name="Picture 10">
            <a:extLst>
              <a:ext uri="{FF2B5EF4-FFF2-40B4-BE49-F238E27FC236}">
                <a16:creationId xmlns:a16="http://schemas.microsoft.com/office/drawing/2014/main" id="{5C429FEC-5A9F-B75A-6BAC-B1178D8A502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129117" y="2095684"/>
            <a:ext cx="1348839" cy="1348839"/>
          </a:xfrm>
          <a:prstGeom prst="rect">
            <a:avLst/>
          </a:prstGeom>
        </p:spPr>
      </p:pic>
    </p:spTree>
    <p:extLst>
      <p:ext uri="{BB962C8B-B14F-4D97-AF65-F5344CB8AC3E}">
        <p14:creationId xmlns:p14="http://schemas.microsoft.com/office/powerpoint/2010/main" val="5975822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page - Blank ">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4F6C532-7C0E-D25A-5484-10BF58BDFE2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8106842" y="625475"/>
            <a:ext cx="1066800" cy="1066800"/>
          </a:xfrm>
          <a:prstGeom prst="rect">
            <a:avLst/>
          </a:prstGeom>
        </p:spPr>
      </p:pic>
      <p:pic>
        <p:nvPicPr>
          <p:cNvPr id="9" name="Graphic 8">
            <a:extLst>
              <a:ext uri="{FF2B5EF4-FFF2-40B4-BE49-F238E27FC236}">
                <a16:creationId xmlns:a16="http://schemas.microsoft.com/office/drawing/2014/main" id="{2422E04B-5B68-5D6B-D550-ADE0E5389B4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7891" y="10317315"/>
            <a:ext cx="417359" cy="417359"/>
          </a:xfrm>
          <a:prstGeom prst="rect">
            <a:avLst/>
          </a:prstGeom>
        </p:spPr>
      </p:pic>
      <p:pic>
        <p:nvPicPr>
          <p:cNvPr id="10" name="Graphic 9">
            <a:extLst>
              <a:ext uri="{FF2B5EF4-FFF2-40B4-BE49-F238E27FC236}">
                <a16:creationId xmlns:a16="http://schemas.microsoft.com/office/drawing/2014/main" id="{F798202D-C6A9-E89F-2E0C-FD5972F604EC}"/>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221142" y="10407650"/>
            <a:ext cx="838200" cy="901700"/>
          </a:xfrm>
          <a:prstGeom prst="rect">
            <a:avLst/>
          </a:prstGeom>
        </p:spPr>
      </p:pic>
    </p:spTree>
    <p:extLst>
      <p:ext uri="{BB962C8B-B14F-4D97-AF65-F5344CB8AC3E}">
        <p14:creationId xmlns:p14="http://schemas.microsoft.com/office/powerpoint/2010/main" val="36141351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6" Type="http://schemas.openxmlformats.org/officeDocument/2006/relationships/image" Target="../media/image1.emf"/><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oleObject" Target="../embeddings/oleObject2.bin"/><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20.xml"/><Relationship Id="rId7" Type="http://schemas.openxmlformats.org/officeDocument/2006/relationships/tags" Target="../tags/tag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heme" Target="../theme/theme3.xml"/><Relationship Id="rId5" Type="http://schemas.openxmlformats.org/officeDocument/2006/relationships/slideLayout" Target="../slideLayouts/slideLayout22.xml"/><Relationship Id="rId4" Type="http://schemas.openxmlformats.org/officeDocument/2006/relationships/slideLayout" Target="../slideLayouts/slideLayout2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61CA3E2-DA19-67D1-9E1D-B073A532174A}"/>
              </a:ext>
            </a:extLst>
          </p:cNvPr>
          <p:cNvGraphicFramePr>
            <a:graphicFrameLocks noChangeAspect="1"/>
          </p:cNvGraphicFramePr>
          <p:nvPr userDrawn="1">
            <p:custDataLst>
              <p:tags r:id="rId7"/>
            </p:custDataLst>
            <p:extLst>
              <p:ext uri="{D42A27DB-BD31-4B8C-83A1-F6EECF244321}">
                <p14:modId xmlns:p14="http://schemas.microsoft.com/office/powerpoint/2010/main" val="3863952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7" name="think-cell data - do not delete" hidden="1">
                        <a:extLst>
                          <a:ext uri="{FF2B5EF4-FFF2-40B4-BE49-F238E27FC236}">
                            <a16:creationId xmlns:a16="http://schemas.microsoft.com/office/drawing/2014/main" id="{061CA3E2-DA19-67D1-9E1D-B073A532174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930456" y="2872560"/>
            <a:ext cx="18243186" cy="930275"/>
          </a:xfrm>
          <a:prstGeom prst="rect">
            <a:avLst/>
          </a:prstGeom>
        </p:spPr>
        <p:txBody>
          <a:bodyPr wrap="square" lIns="0" tIns="0" rIns="0" bIns="0">
            <a:spAutoFit/>
          </a:bodyPr>
          <a:lstStyle>
            <a:lvl1pPr>
              <a:defRPr sz="5900" b="1" i="0">
                <a:solidFill>
                  <a:srgbClr val="F4CC1C"/>
                </a:solidFill>
                <a:latin typeface="Nexa Black"/>
                <a:cs typeface="Nexa Black"/>
              </a:defRPr>
            </a:lvl1pPr>
          </a:lstStyle>
          <a:p>
            <a:endParaRPr/>
          </a:p>
        </p:txBody>
      </p:sp>
      <p:sp>
        <p:nvSpPr>
          <p:cNvPr id="3" name="Holder 3"/>
          <p:cNvSpPr>
            <a:spLocks noGrp="1"/>
          </p:cNvSpPr>
          <p:nvPr>
            <p:ph type="body" idx="1"/>
          </p:nvPr>
        </p:nvSpPr>
        <p:spPr>
          <a:xfrm>
            <a:off x="1005205" y="2601150"/>
            <a:ext cx="18093690" cy="7464171"/>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6835394" y="10517696"/>
            <a:ext cx="6433312" cy="565467"/>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1005205" y="10517696"/>
            <a:ext cx="4623943" cy="565467"/>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9/30/2024</a:t>
            </a:fld>
            <a:endParaRPr lang="en-US"/>
          </a:p>
        </p:txBody>
      </p:sp>
      <p:sp>
        <p:nvSpPr>
          <p:cNvPr id="6" name="Holder 6"/>
          <p:cNvSpPr>
            <a:spLocks noGrp="1"/>
          </p:cNvSpPr>
          <p:nvPr>
            <p:ph type="sldNum" sz="quarter" idx="7"/>
          </p:nvPr>
        </p:nvSpPr>
        <p:spPr>
          <a:xfrm>
            <a:off x="14474953" y="10517696"/>
            <a:ext cx="4623943" cy="565467"/>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AB8F3B4-0F5D-5AE5-B036-8F5B47803697}"/>
              </a:ext>
            </a:extLst>
          </p:cNvPr>
          <p:cNvGraphicFramePr>
            <a:graphicFrameLocks noChangeAspect="1"/>
          </p:cNvGraphicFramePr>
          <p:nvPr userDrawn="1">
            <p:custDataLst>
              <p:tags r:id="rId14"/>
            </p:custDataLst>
            <p:extLst>
              <p:ext uri="{D42A27DB-BD31-4B8C-83A1-F6EECF244321}">
                <p14:modId xmlns:p14="http://schemas.microsoft.com/office/powerpoint/2010/main" val="1326115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6" progId="TCLayout.ActiveDocument.1">
                  <p:embed/>
                </p:oleObj>
              </mc:Choice>
              <mc:Fallback>
                <p:oleObj name="think-cell Slide" r:id="rId15" imgW="395" imgH="396" progId="TCLayout.ActiveDocument.1">
                  <p:embed/>
                  <p:pic>
                    <p:nvPicPr>
                      <p:cNvPr id="2" name="think-cell data - do not delete" hidden="1">
                        <a:extLst>
                          <a:ext uri="{FF2B5EF4-FFF2-40B4-BE49-F238E27FC236}">
                            <a16:creationId xmlns:a16="http://schemas.microsoft.com/office/drawing/2014/main" id="{7AB8F3B4-0F5D-5AE5-B036-8F5B47803697}"/>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59404136"/>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8" r:id="rId7"/>
    <p:sldLayoutId id="2147483679" r:id="rId8"/>
    <p:sldLayoutId id="2147483680" r:id="rId9"/>
    <p:sldLayoutId id="2147483681" r:id="rId10"/>
    <p:sldLayoutId id="2147483673" r:id="rId11"/>
    <p:sldLayoutId id="214748367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A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A23E419-3B60-48B2-0DF3-7D473572250E}"/>
              </a:ext>
            </a:extLst>
          </p:cNvPr>
          <p:cNvGraphicFramePr>
            <a:graphicFrameLocks noChangeAspect="1"/>
          </p:cNvGraphicFramePr>
          <p:nvPr userDrawn="1">
            <p:custDataLst>
              <p:tags r:id="rId7"/>
            </p:custDataLst>
            <p:extLst>
              <p:ext uri="{D42A27DB-BD31-4B8C-83A1-F6EECF244321}">
                <p14:modId xmlns:p14="http://schemas.microsoft.com/office/powerpoint/2010/main" val="3703826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7" name="think-cell data - do not delete" hidden="1">
                        <a:extLst>
                          <a:ext uri="{FF2B5EF4-FFF2-40B4-BE49-F238E27FC236}">
                            <a16:creationId xmlns:a16="http://schemas.microsoft.com/office/drawing/2014/main" id="{CA23E419-3B60-48B2-0DF3-7D473572250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930456" y="2872560"/>
            <a:ext cx="18243186" cy="930275"/>
          </a:xfrm>
          <a:prstGeom prst="rect">
            <a:avLst/>
          </a:prstGeom>
        </p:spPr>
        <p:txBody>
          <a:bodyPr wrap="square" lIns="0" tIns="0" rIns="0" bIns="0">
            <a:spAutoFit/>
          </a:bodyPr>
          <a:lstStyle>
            <a:lvl1pPr>
              <a:defRPr sz="5900" b="1" i="0">
                <a:solidFill>
                  <a:srgbClr val="F4CC1C"/>
                </a:solidFill>
                <a:latin typeface="Nexa Black"/>
                <a:cs typeface="Nexa Black"/>
              </a:defRPr>
            </a:lvl1pPr>
          </a:lstStyle>
          <a:p>
            <a:endParaRPr/>
          </a:p>
        </p:txBody>
      </p:sp>
      <p:sp>
        <p:nvSpPr>
          <p:cNvPr id="3" name="Holder 3"/>
          <p:cNvSpPr>
            <a:spLocks noGrp="1"/>
          </p:cNvSpPr>
          <p:nvPr>
            <p:ph type="body" idx="1"/>
          </p:nvPr>
        </p:nvSpPr>
        <p:spPr>
          <a:xfrm>
            <a:off x="1005205" y="2601150"/>
            <a:ext cx="18093690" cy="7464171"/>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6835394" y="10517696"/>
            <a:ext cx="6433312" cy="565467"/>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1005205" y="10517696"/>
            <a:ext cx="4623943" cy="565467"/>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9/30/2024</a:t>
            </a:fld>
            <a:endParaRPr lang="en-US"/>
          </a:p>
        </p:txBody>
      </p:sp>
      <p:sp>
        <p:nvSpPr>
          <p:cNvPr id="6" name="Holder 6"/>
          <p:cNvSpPr>
            <a:spLocks noGrp="1"/>
          </p:cNvSpPr>
          <p:nvPr>
            <p:ph type="sldNum" sz="quarter" idx="7"/>
          </p:nvPr>
        </p:nvSpPr>
        <p:spPr>
          <a:xfrm>
            <a:off x="14474953" y="10517696"/>
            <a:ext cx="4623943" cy="565467"/>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
        <p:nvSpPr>
          <p:cNvPr id="8" name="TextBox 7">
            <a:extLst>
              <a:ext uri="{FF2B5EF4-FFF2-40B4-BE49-F238E27FC236}">
                <a16:creationId xmlns:a16="http://schemas.microsoft.com/office/drawing/2014/main" id="{02DFEA92-8A16-4D3C-E0A9-D836D613BE55}"/>
              </a:ext>
            </a:extLst>
          </p:cNvPr>
          <p:cNvSpPr txBox="1"/>
          <p:nvPr userDrawn="1">
            <p:extLst>
              <p:ext uri="{1162E1C5-73C7-4A58-AE30-91384D911F3F}">
                <p184:classification xmlns:p184="http://schemas.microsoft.com/office/powerpoint/2018/4/main" val="ftr"/>
              </p:ext>
            </p:extLst>
          </p:nvPr>
        </p:nvSpPr>
        <p:spPr>
          <a:xfrm>
            <a:off x="63500" y="11093450"/>
            <a:ext cx="5324539" cy="152400"/>
          </a:xfrm>
          <a:prstGeom prst="rect">
            <a:avLst/>
          </a:prstGeom>
        </p:spPr>
        <p:txBody>
          <a:bodyPr horzOverflow="overflow" lIns="0" tIns="0" rIns="0" bIns="0">
            <a:spAutoFit/>
          </a:bodyPr>
          <a:lstStyle/>
          <a:p>
            <a:pPr algn="l"/>
            <a:r>
              <a:rPr lang="en-AE" sz="1000">
                <a:solidFill>
                  <a:srgbClr val="000000"/>
                </a:solidFill>
                <a:latin typeface="Calibri" panose="020F0502020204030204" pitchFamily="34" charset="0"/>
                <a:ea typeface="Calibri" panose="020F0502020204030204" pitchFamily="34" charset="0"/>
                <a:cs typeface="Calibri" panose="020F0502020204030204" pitchFamily="34" charset="0"/>
              </a:rPr>
              <a:t>Open - Data that is intended for public consumption. Can be shared with external partners as required.</a:t>
            </a:r>
          </a:p>
        </p:txBody>
      </p:sp>
    </p:spTree>
    <p:extLst>
      <p:ext uri="{BB962C8B-B14F-4D97-AF65-F5344CB8AC3E}">
        <p14:creationId xmlns:p14="http://schemas.microsoft.com/office/powerpoint/2010/main" val="272340343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2.png"/><Relationship Id="rId18" Type="http://schemas.openxmlformats.org/officeDocument/2006/relationships/image" Target="../media/image54.png"/><Relationship Id="rId3" Type="http://schemas.openxmlformats.org/officeDocument/2006/relationships/oleObject" Target="../embeddings/oleObject4.bin"/><Relationship Id="rId21" Type="http://schemas.openxmlformats.org/officeDocument/2006/relationships/image" Target="../media/image57.png"/><Relationship Id="rId7" Type="http://schemas.openxmlformats.org/officeDocument/2006/relationships/image" Target="../media/image5.png"/><Relationship Id="rId12" Type="http://schemas.openxmlformats.org/officeDocument/2006/relationships/image" Target="../media/image10.png"/><Relationship Id="rId17" Type="http://schemas.openxmlformats.org/officeDocument/2006/relationships/image" Target="../media/image53.svg"/><Relationship Id="rId2" Type="http://schemas.openxmlformats.org/officeDocument/2006/relationships/slideLayout" Target="../slideLayouts/slideLayout6.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tags" Target="../tags/tag5.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3.png"/><Relationship Id="rId15" Type="http://schemas.openxmlformats.org/officeDocument/2006/relationships/image" Target="../media/image51.jpeg"/><Relationship Id="rId10" Type="http://schemas.openxmlformats.org/officeDocument/2006/relationships/image" Target="../media/image8.png"/><Relationship Id="rId19" Type="http://schemas.openxmlformats.org/officeDocument/2006/relationships/image" Target="../media/image55.svg"/><Relationship Id="rId4" Type="http://schemas.openxmlformats.org/officeDocument/2006/relationships/image" Target="../media/image1.emf"/><Relationship Id="rId9" Type="http://schemas.openxmlformats.org/officeDocument/2006/relationships/image" Target="../media/image7.png"/><Relationship Id="rId14" Type="http://schemas.microsoft.com/office/2007/relationships/hdphoto" Target="../media/hdphoto1.wdp"/><Relationship Id="rId22" Type="http://schemas.openxmlformats.org/officeDocument/2006/relationships/image" Target="../media/image58.png"/></Relationships>
</file>

<file path=ppt/slides/_rels/slide10.xml.rels><?xml version="1.0" encoding="UTF-8" standalone="yes"?>
<Relationships xmlns="http://schemas.openxmlformats.org/package/2006/relationships"><Relationship Id="rId8" Type="http://schemas.openxmlformats.org/officeDocument/2006/relationships/image" Target="../media/image94.svg"/><Relationship Id="rId3" Type="http://schemas.openxmlformats.org/officeDocument/2006/relationships/oleObject" Target="../embeddings/oleObject5.bin"/><Relationship Id="rId7" Type="http://schemas.openxmlformats.org/officeDocument/2006/relationships/image" Target="../media/image93.png"/><Relationship Id="rId2" Type="http://schemas.openxmlformats.org/officeDocument/2006/relationships/slideLayout" Target="../slideLayouts/slideLayout5.xml"/><Relationship Id="rId1" Type="http://schemas.openxmlformats.org/officeDocument/2006/relationships/tags" Target="../tags/tag6.xml"/><Relationship Id="rId6" Type="http://schemas.openxmlformats.org/officeDocument/2006/relationships/hyperlink" Target="mailto:ICM@adfca.gov.ae" TargetMode="External"/><Relationship Id="rId5" Type="http://schemas.openxmlformats.org/officeDocument/2006/relationships/hyperlink" Target="mailto:cpu@moe.gov.ae" TargetMode="External"/><Relationship Id="rId4" Type="http://schemas.openxmlformats.org/officeDocument/2006/relationships/image" Target="../media/image1.emf"/><Relationship Id="rId9" Type="http://schemas.openxmlformats.org/officeDocument/2006/relationships/image" Target="../media/image95.png"/></Relationships>
</file>

<file path=ppt/slides/_rels/slide11.xml.rels><?xml version="1.0" encoding="UTF-8" standalone="yes"?>
<Relationships xmlns="http://schemas.openxmlformats.org/package/2006/relationships"><Relationship Id="rId3" Type="http://schemas.openxmlformats.org/officeDocument/2006/relationships/image" Target="../media/image97.svg"/><Relationship Id="rId2" Type="http://schemas.openxmlformats.org/officeDocument/2006/relationships/image" Target="../media/image96.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99.svg"/></Relationships>
</file>

<file path=ppt/slides/_rels/slide1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100.svg"/></Relationships>
</file>

<file path=ppt/slides/_rels/slide15.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102.svg"/></Relationships>
</file>

<file path=ppt/slides/_rels/slide16.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image" Target="../media/image103.png"/><Relationship Id="rId7" Type="http://schemas.openxmlformats.org/officeDocument/2006/relationships/image" Target="../media/image105.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hyperlink" Target="http://www.daasafetyconcern.abudhabi" TargetMode="External"/><Relationship Id="rId11" Type="http://schemas.openxmlformats.org/officeDocument/2006/relationships/image" Target="../media/image107.png"/><Relationship Id="rId5" Type="http://schemas.openxmlformats.org/officeDocument/2006/relationships/hyperlink" Target="http://www.moi-cpc.gov.ae/" TargetMode="External"/><Relationship Id="rId10" Type="http://schemas.openxmlformats.org/officeDocument/2006/relationships/image" Target="../media/image60.svg"/><Relationship Id="rId4" Type="http://schemas.openxmlformats.org/officeDocument/2006/relationships/image" Target="../media/image104.svg"/><Relationship Id="rId9" Type="http://schemas.openxmlformats.org/officeDocument/2006/relationships/image" Target="../media/image59.png"/></Relationships>
</file>

<file path=ppt/slides/_rels/slide17.xml.rels><?xml version="1.0" encoding="UTF-8" standalone="yes"?>
<Relationships xmlns="http://schemas.openxmlformats.org/package/2006/relationships"><Relationship Id="rId8" Type="http://schemas.openxmlformats.org/officeDocument/2006/relationships/image" Target="../media/image55.svg"/><Relationship Id="rId3" Type="http://schemas.microsoft.com/office/2007/relationships/hdphoto" Target="../media/hdphoto1.wdp"/><Relationship Id="rId7" Type="http://schemas.openxmlformats.org/officeDocument/2006/relationships/image" Target="../media/image54.png"/><Relationship Id="rId2" Type="http://schemas.openxmlformats.org/officeDocument/2006/relationships/image" Target="../media/image12.png"/><Relationship Id="rId1" Type="http://schemas.openxmlformats.org/officeDocument/2006/relationships/slideLayout" Target="../slideLayouts/slideLayout17.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1.jpeg"/></Relationships>
</file>

<file path=ppt/slides/_rels/slide2.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67.svg"/><Relationship Id="rId3" Type="http://schemas.openxmlformats.org/officeDocument/2006/relationships/image" Target="../media/image60.svg"/><Relationship Id="rId7" Type="http://schemas.openxmlformats.org/officeDocument/2006/relationships/image" Target="../media/image62.svg"/><Relationship Id="rId12" Type="http://schemas.openxmlformats.org/officeDocument/2006/relationships/image" Target="../media/image66.png"/><Relationship Id="rId17" Type="http://schemas.openxmlformats.org/officeDocument/2006/relationships/image" Target="../media/image71.svg"/><Relationship Id="rId2" Type="http://schemas.openxmlformats.org/officeDocument/2006/relationships/image" Target="../media/image59.png"/><Relationship Id="rId16" Type="http://schemas.openxmlformats.org/officeDocument/2006/relationships/image" Target="../media/image70.png"/><Relationship Id="rId1" Type="http://schemas.openxmlformats.org/officeDocument/2006/relationships/slideLayout" Target="../slideLayouts/slideLayout5.xml"/><Relationship Id="rId6" Type="http://schemas.openxmlformats.org/officeDocument/2006/relationships/image" Target="../media/image21.png"/><Relationship Id="rId11" Type="http://schemas.openxmlformats.org/officeDocument/2006/relationships/image" Target="../media/image65.svg"/><Relationship Id="rId5" Type="http://schemas.openxmlformats.org/officeDocument/2006/relationships/image" Target="../media/image61.svg"/><Relationship Id="rId15" Type="http://schemas.openxmlformats.org/officeDocument/2006/relationships/image" Target="../media/image69.svg"/><Relationship Id="rId10" Type="http://schemas.openxmlformats.org/officeDocument/2006/relationships/image" Target="../media/image64.png"/><Relationship Id="rId4" Type="http://schemas.openxmlformats.org/officeDocument/2006/relationships/image" Target="../media/image19.png"/><Relationship Id="rId9" Type="http://schemas.openxmlformats.org/officeDocument/2006/relationships/image" Target="../media/image63.svg"/><Relationship Id="rId14" Type="http://schemas.openxmlformats.org/officeDocument/2006/relationships/image" Target="../media/image68.png"/></Relationships>
</file>

<file path=ppt/slides/_rels/slide3.xml.rels><?xml version="1.0" encoding="UTF-8" standalone="yes"?>
<Relationships xmlns="http://schemas.openxmlformats.org/package/2006/relationships"><Relationship Id="rId3" Type="http://schemas.openxmlformats.org/officeDocument/2006/relationships/image" Target="../media/image73.svg"/><Relationship Id="rId7" Type="http://schemas.openxmlformats.org/officeDocument/2006/relationships/image" Target="../media/image77.svg"/><Relationship Id="rId2" Type="http://schemas.openxmlformats.org/officeDocument/2006/relationships/image" Target="../media/image72.png"/><Relationship Id="rId1" Type="http://schemas.openxmlformats.org/officeDocument/2006/relationships/slideLayout" Target="../slideLayouts/slideLayout5.xml"/><Relationship Id="rId6" Type="http://schemas.openxmlformats.org/officeDocument/2006/relationships/image" Target="../media/image76.png"/><Relationship Id="rId5" Type="http://schemas.openxmlformats.org/officeDocument/2006/relationships/image" Target="../media/image75.svg"/><Relationship Id="rId4" Type="http://schemas.openxmlformats.org/officeDocument/2006/relationships/image" Target="../media/image74.png"/></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79.svg"/><Relationship Id="rId7" Type="http://schemas.openxmlformats.org/officeDocument/2006/relationships/image" Target="../media/image82.svg"/><Relationship Id="rId2" Type="http://schemas.openxmlformats.org/officeDocument/2006/relationships/image" Target="../media/image78.png"/><Relationship Id="rId1" Type="http://schemas.openxmlformats.org/officeDocument/2006/relationships/slideLayout" Target="../slideLayouts/slideLayout5.xml"/><Relationship Id="rId6" Type="http://schemas.openxmlformats.org/officeDocument/2006/relationships/image" Target="../media/image64.png"/><Relationship Id="rId5" Type="http://schemas.openxmlformats.org/officeDocument/2006/relationships/image" Target="../media/image81.svg"/><Relationship Id="rId4" Type="http://schemas.openxmlformats.org/officeDocument/2006/relationships/image" Target="../media/image80.png"/><Relationship Id="rId9" Type="http://schemas.openxmlformats.org/officeDocument/2006/relationships/image" Target="../media/image28.svg"/></Relationships>
</file>

<file path=ppt/slides/_rels/slide5.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85.png"/><Relationship Id="rId2" Type="http://schemas.openxmlformats.org/officeDocument/2006/relationships/notesSlide" Target="../notesSlides/notesSlide1.xml"/><Relationship Id="rId1" Type="http://schemas.openxmlformats.org/officeDocument/2006/relationships/slideLayout" Target="../slideLayouts/slideLayout22.xml"/><Relationship Id="rId6" Type="http://schemas.openxmlformats.org/officeDocument/2006/relationships/image" Target="../media/image84.svg"/><Relationship Id="rId5" Type="http://schemas.openxmlformats.org/officeDocument/2006/relationships/image" Target="../media/image83.png"/><Relationship Id="rId4" Type="http://schemas.openxmlformats.org/officeDocument/2006/relationships/image" Target="../media/image79.svg"/></Relationships>
</file>

<file path=ppt/slides/_rels/slide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84.svg"/><Relationship Id="rId5" Type="http://schemas.openxmlformats.org/officeDocument/2006/relationships/image" Target="../media/image83.png"/><Relationship Id="rId4" Type="http://schemas.openxmlformats.org/officeDocument/2006/relationships/image" Target="../media/image79.svg"/></Relationships>
</file>

<file path=ppt/slides/_rels/slide7.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86.png"/><Relationship Id="rId7"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26.svg"/><Relationship Id="rId5" Type="http://schemas.openxmlformats.org/officeDocument/2006/relationships/image" Target="../media/image25.png"/><Relationship Id="rId10" Type="http://schemas.openxmlformats.org/officeDocument/2006/relationships/image" Target="../media/image89.svg"/><Relationship Id="rId4" Type="http://schemas.openxmlformats.org/officeDocument/2006/relationships/image" Target="../media/image87.svg"/><Relationship Id="rId9" Type="http://schemas.openxmlformats.org/officeDocument/2006/relationships/image" Target="../media/image88.pn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26.svg"/></Relationships>
</file>

<file path=ppt/slides/_rels/slide9.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90.png"/><Relationship Id="rId7" Type="http://schemas.openxmlformats.org/officeDocument/2006/relationships/image" Target="../media/image64.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92.svg"/><Relationship Id="rId5" Type="http://schemas.openxmlformats.org/officeDocument/2006/relationships/image" Target="../media/image59.png"/><Relationship Id="rId4" Type="http://schemas.openxmlformats.org/officeDocument/2006/relationships/image" Target="../media/image9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C08A5F9-CC31-F541-EA44-DBFE2C309D9A}"/>
              </a:ext>
            </a:extLst>
          </p:cNvPr>
          <p:cNvGraphicFramePr>
            <a:graphicFrameLocks noChangeAspect="1"/>
          </p:cNvGraphicFramePr>
          <p:nvPr>
            <p:custDataLst>
              <p:tags r:id="rId1"/>
            </p:custDataLst>
            <p:extLst>
              <p:ext uri="{D42A27DB-BD31-4B8C-83A1-F6EECF244321}">
                <p14:modId xmlns:p14="http://schemas.microsoft.com/office/powerpoint/2010/main" val="2022493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think-cell data - do not delete" hidden="1">
                        <a:extLst>
                          <a:ext uri="{FF2B5EF4-FFF2-40B4-BE49-F238E27FC236}">
                            <a16:creationId xmlns:a16="http://schemas.microsoft.com/office/drawing/2014/main" id="{8C08A5F9-CC31-F541-EA44-DBFE2C309D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object 13"/>
          <p:cNvSpPr txBox="1">
            <a:spLocks noGrp="1"/>
          </p:cNvSpPr>
          <p:nvPr>
            <p:ph type="title"/>
          </p:nvPr>
        </p:nvSpPr>
        <p:spPr>
          <a:xfrm>
            <a:off x="813243" y="3313274"/>
            <a:ext cx="8510052" cy="4893647"/>
          </a:xfrm>
          <a:prstGeom prst="rect">
            <a:avLst/>
          </a:prstGeom>
        </p:spPr>
        <p:txBody>
          <a:bodyPr vert="horz" wrap="square" lIns="0" tIns="91440" rIns="0" bIns="0" rtlCol="0">
            <a:spAutoFit/>
          </a:bodyPr>
          <a:lstStyle/>
          <a:p>
            <a:pPr marL="12700">
              <a:lnSpc>
                <a:spcPct val="100000"/>
              </a:lnSpc>
              <a:spcBef>
                <a:spcPts val="720"/>
              </a:spcBef>
            </a:pPr>
            <a:r>
              <a:rPr lang="en-US" sz="5400" spc="20">
                <a:solidFill>
                  <a:srgbClr val="002060"/>
                </a:solidFill>
                <a:latin typeface="Tahoma" panose="020B0604030504040204" pitchFamily="34" charset="0"/>
                <a:ea typeface="Tahoma" panose="020B0604030504040204" pitchFamily="34" charset="0"/>
                <a:cs typeface="Tahoma" panose="020B0604030504040204" pitchFamily="34" charset="0"/>
              </a:rPr>
              <a:t>Student Protection Policy for Educational Institutions</a:t>
            </a:r>
            <a:br>
              <a:rPr lang="en-US" sz="5400" spc="20">
                <a:solidFill>
                  <a:srgbClr val="002060"/>
                </a:solidFill>
                <a:latin typeface="Tahoma" panose="020B0604030504040204" pitchFamily="34" charset="0"/>
                <a:ea typeface="Tahoma" panose="020B0604030504040204" pitchFamily="34" charset="0"/>
                <a:cs typeface="Tahoma" panose="020B0604030504040204" pitchFamily="34" charset="0"/>
              </a:rPr>
            </a:br>
            <a:br>
              <a:rPr lang="en-US" sz="5400" spc="20">
                <a:solidFill>
                  <a:srgbClr val="002060"/>
                </a:solidFill>
                <a:latin typeface="Tahoma" panose="020B0604030504040204" pitchFamily="34" charset="0"/>
                <a:ea typeface="Tahoma" panose="020B0604030504040204" pitchFamily="34" charset="0"/>
                <a:cs typeface="Tahoma" panose="020B0604030504040204" pitchFamily="34" charset="0"/>
              </a:rPr>
            </a:br>
            <a:r>
              <a:rPr lang="en-US" sz="3200" b="0" spc="20">
                <a:solidFill>
                  <a:srgbClr val="002060"/>
                </a:solidFill>
                <a:latin typeface="Tahoma" panose="020B0604030504040204" pitchFamily="34" charset="0"/>
                <a:ea typeface="Tahoma" panose="020B0604030504040204" pitchFamily="34" charset="0"/>
                <a:cs typeface="Tahoma" panose="020B0604030504040204" pitchFamily="34" charset="0"/>
              </a:rPr>
              <a:t>Provisions for the Implementation of the Child Protection Policy in Educational Institutions in Abu Dhabi</a:t>
            </a:r>
            <a:endParaRPr lang="en-US" sz="5400" b="0">
              <a:solidFill>
                <a:srgbClr val="002060"/>
              </a:solidFill>
              <a:latin typeface="Tahoma" panose="020B0604030504040204" pitchFamily="34" charset="0"/>
              <a:ea typeface="Tahoma" panose="020B0604030504040204" pitchFamily="34" charset="0"/>
              <a:cs typeface="Tahoma" panose="020B0604030504040204" pitchFamily="34" charset="0"/>
            </a:endParaRPr>
          </a:p>
        </p:txBody>
      </p:sp>
      <p:sp>
        <p:nvSpPr>
          <p:cNvPr id="20" name="object 20"/>
          <p:cNvSpPr txBox="1"/>
          <p:nvPr/>
        </p:nvSpPr>
        <p:spPr>
          <a:xfrm>
            <a:off x="18214677" y="10112090"/>
            <a:ext cx="1275715" cy="582930"/>
          </a:xfrm>
          <a:prstGeom prst="rect">
            <a:avLst/>
          </a:prstGeom>
        </p:spPr>
        <p:txBody>
          <a:bodyPr vert="horz" wrap="square" lIns="0" tIns="13335" rIns="0" bIns="0" rtlCol="0">
            <a:spAutoFit/>
          </a:bodyPr>
          <a:lstStyle/>
          <a:p>
            <a:pPr marL="12700">
              <a:lnSpc>
                <a:spcPct val="100000"/>
              </a:lnSpc>
              <a:spcBef>
                <a:spcPts val="105"/>
              </a:spcBef>
            </a:pPr>
            <a:r>
              <a:rPr lang="en-US" sz="3650" b="1" spc="-20">
                <a:solidFill>
                  <a:srgbClr val="FFFFFF"/>
                </a:solidFill>
                <a:latin typeface="Tahoma" panose="020B0604030504040204" pitchFamily="34" charset="0"/>
                <a:ea typeface="Tahoma" panose="020B0604030504040204" pitchFamily="34" charset="0"/>
                <a:cs typeface="Tahoma" panose="020B0604030504040204" pitchFamily="34" charset="0"/>
              </a:rPr>
              <a:t>2024</a:t>
            </a:r>
            <a:endParaRPr sz="3650" b="1">
              <a:latin typeface="Tahoma" panose="020B0604030504040204" pitchFamily="34" charset="0"/>
              <a:ea typeface="Tahoma" panose="020B0604030504040204" pitchFamily="34" charset="0"/>
              <a:cs typeface="Tahoma" panose="020B0604030504040204" pitchFamily="34" charset="0"/>
            </a:endParaRPr>
          </a:p>
        </p:txBody>
      </p:sp>
      <p:grpSp>
        <p:nvGrpSpPr>
          <p:cNvPr id="6" name="Group 5">
            <a:extLst>
              <a:ext uri="{FF2B5EF4-FFF2-40B4-BE49-F238E27FC236}">
                <a16:creationId xmlns:a16="http://schemas.microsoft.com/office/drawing/2014/main" id="{FE02B086-076D-ADA2-4112-4055FDC9BA89}"/>
              </a:ext>
            </a:extLst>
          </p:cNvPr>
          <p:cNvGrpSpPr/>
          <p:nvPr/>
        </p:nvGrpSpPr>
        <p:grpSpPr>
          <a:xfrm>
            <a:off x="854755" y="1007583"/>
            <a:ext cx="2901397" cy="1343660"/>
            <a:chOff x="854755" y="1007583"/>
            <a:chExt cx="2901397" cy="1343660"/>
          </a:xfrm>
        </p:grpSpPr>
        <p:grpSp>
          <p:nvGrpSpPr>
            <p:cNvPr id="22" name="object 22"/>
            <p:cNvGrpSpPr/>
            <p:nvPr/>
          </p:nvGrpSpPr>
          <p:grpSpPr>
            <a:xfrm>
              <a:off x="854755" y="1007583"/>
              <a:ext cx="1256030" cy="1343660"/>
              <a:chOff x="854755" y="1007583"/>
              <a:chExt cx="1256030" cy="1343660"/>
            </a:xfrm>
          </p:grpSpPr>
          <p:sp>
            <p:nvSpPr>
              <p:cNvPr id="23" name="object 23"/>
              <p:cNvSpPr/>
              <p:nvPr/>
            </p:nvSpPr>
            <p:spPr>
              <a:xfrm>
                <a:off x="854755" y="1007583"/>
                <a:ext cx="1256030" cy="1343660"/>
              </a:xfrm>
              <a:custGeom>
                <a:avLst/>
                <a:gdLst/>
                <a:ahLst/>
                <a:cxnLst/>
                <a:rect l="l" t="t" r="r" b="b"/>
                <a:pathLst>
                  <a:path w="1256030" h="1343660">
                    <a:moveTo>
                      <a:pt x="627991" y="0"/>
                    </a:moveTo>
                    <a:lnTo>
                      <a:pt x="578914" y="1889"/>
                    </a:lnTo>
                    <a:lnTo>
                      <a:pt x="530870" y="7464"/>
                    </a:lnTo>
                    <a:lnTo>
                      <a:pt x="483999" y="16585"/>
                    </a:lnTo>
                    <a:lnTo>
                      <a:pt x="438440" y="29112"/>
                    </a:lnTo>
                    <a:lnTo>
                      <a:pt x="394333" y="44906"/>
                    </a:lnTo>
                    <a:lnTo>
                      <a:pt x="351817" y="63828"/>
                    </a:lnTo>
                    <a:lnTo>
                      <a:pt x="311033" y="85737"/>
                    </a:lnTo>
                    <a:lnTo>
                      <a:pt x="272119" y="110494"/>
                    </a:lnTo>
                    <a:lnTo>
                      <a:pt x="235216" y="137960"/>
                    </a:lnTo>
                    <a:lnTo>
                      <a:pt x="200462" y="167994"/>
                    </a:lnTo>
                    <a:lnTo>
                      <a:pt x="167998" y="200458"/>
                    </a:lnTo>
                    <a:lnTo>
                      <a:pt x="137963" y="235211"/>
                    </a:lnTo>
                    <a:lnTo>
                      <a:pt x="110497" y="272114"/>
                    </a:lnTo>
                    <a:lnTo>
                      <a:pt x="85739" y="311028"/>
                    </a:lnTo>
                    <a:lnTo>
                      <a:pt x="63830" y="351813"/>
                    </a:lnTo>
                    <a:lnTo>
                      <a:pt x="44908" y="394329"/>
                    </a:lnTo>
                    <a:lnTo>
                      <a:pt x="29113" y="438436"/>
                    </a:lnTo>
                    <a:lnTo>
                      <a:pt x="16585" y="483996"/>
                    </a:lnTo>
                    <a:lnTo>
                      <a:pt x="7464" y="530868"/>
                    </a:lnTo>
                    <a:lnTo>
                      <a:pt x="1889" y="578913"/>
                    </a:lnTo>
                    <a:lnTo>
                      <a:pt x="0" y="627991"/>
                    </a:lnTo>
                    <a:lnTo>
                      <a:pt x="0" y="1343299"/>
                    </a:lnTo>
                    <a:lnTo>
                      <a:pt x="386668" y="1343299"/>
                    </a:lnTo>
                    <a:lnTo>
                      <a:pt x="386689" y="571322"/>
                    </a:lnTo>
                    <a:lnTo>
                      <a:pt x="391636" y="522254"/>
                    </a:lnTo>
                    <a:lnTo>
                      <a:pt x="405822" y="476552"/>
                    </a:lnTo>
                    <a:lnTo>
                      <a:pt x="428269" y="435195"/>
                    </a:lnTo>
                    <a:lnTo>
                      <a:pt x="457999" y="399163"/>
                    </a:lnTo>
                    <a:lnTo>
                      <a:pt x="494031" y="369433"/>
                    </a:lnTo>
                    <a:lnTo>
                      <a:pt x="535388" y="346986"/>
                    </a:lnTo>
                    <a:lnTo>
                      <a:pt x="581090" y="332800"/>
                    </a:lnTo>
                    <a:lnTo>
                      <a:pt x="630158" y="327853"/>
                    </a:lnTo>
                    <a:lnTo>
                      <a:pt x="679227" y="332800"/>
                    </a:lnTo>
                    <a:lnTo>
                      <a:pt x="724929" y="346986"/>
                    </a:lnTo>
                    <a:lnTo>
                      <a:pt x="766285" y="369433"/>
                    </a:lnTo>
                    <a:lnTo>
                      <a:pt x="802318" y="399163"/>
                    </a:lnTo>
                    <a:lnTo>
                      <a:pt x="832047" y="435195"/>
                    </a:lnTo>
                    <a:lnTo>
                      <a:pt x="854495" y="476552"/>
                    </a:lnTo>
                    <a:lnTo>
                      <a:pt x="868681" y="522254"/>
                    </a:lnTo>
                    <a:lnTo>
                      <a:pt x="873627" y="571322"/>
                    </a:lnTo>
                    <a:lnTo>
                      <a:pt x="873627" y="657058"/>
                    </a:lnTo>
                    <a:lnTo>
                      <a:pt x="1255323" y="657058"/>
                    </a:lnTo>
                    <a:lnTo>
                      <a:pt x="1255323" y="1342650"/>
                    </a:lnTo>
                    <a:lnTo>
                      <a:pt x="871177" y="1342650"/>
                    </a:lnTo>
                    <a:lnTo>
                      <a:pt x="871177" y="1343299"/>
                    </a:lnTo>
                    <a:lnTo>
                      <a:pt x="1255982" y="1343299"/>
                    </a:lnTo>
                    <a:lnTo>
                      <a:pt x="1255982" y="627991"/>
                    </a:lnTo>
                    <a:lnTo>
                      <a:pt x="1254093" y="578913"/>
                    </a:lnTo>
                    <a:lnTo>
                      <a:pt x="1248518" y="530868"/>
                    </a:lnTo>
                    <a:lnTo>
                      <a:pt x="1239396" y="483996"/>
                    </a:lnTo>
                    <a:lnTo>
                      <a:pt x="1226869" y="438436"/>
                    </a:lnTo>
                    <a:lnTo>
                      <a:pt x="1211074" y="394329"/>
                    </a:lnTo>
                    <a:lnTo>
                      <a:pt x="1192152" y="351813"/>
                    </a:lnTo>
                    <a:lnTo>
                      <a:pt x="1170242" y="311028"/>
                    </a:lnTo>
                    <a:lnTo>
                      <a:pt x="1145485" y="272114"/>
                    </a:lnTo>
                    <a:lnTo>
                      <a:pt x="1118019" y="235211"/>
                    </a:lnTo>
                    <a:lnTo>
                      <a:pt x="1087984" y="200458"/>
                    </a:lnTo>
                    <a:lnTo>
                      <a:pt x="1055520" y="167994"/>
                    </a:lnTo>
                    <a:lnTo>
                      <a:pt x="1020766" y="137960"/>
                    </a:lnTo>
                    <a:lnTo>
                      <a:pt x="983863" y="110494"/>
                    </a:lnTo>
                    <a:lnTo>
                      <a:pt x="944949" y="85737"/>
                    </a:lnTo>
                    <a:lnTo>
                      <a:pt x="904164" y="63828"/>
                    </a:lnTo>
                    <a:lnTo>
                      <a:pt x="861649" y="44906"/>
                    </a:lnTo>
                    <a:lnTo>
                      <a:pt x="817542" y="29112"/>
                    </a:lnTo>
                    <a:lnTo>
                      <a:pt x="771983" y="16585"/>
                    </a:lnTo>
                    <a:lnTo>
                      <a:pt x="725111" y="7464"/>
                    </a:lnTo>
                    <a:lnTo>
                      <a:pt x="677068" y="1889"/>
                    </a:lnTo>
                    <a:lnTo>
                      <a:pt x="627991" y="0"/>
                    </a:lnTo>
                    <a:close/>
                  </a:path>
                </a:pathLst>
              </a:custGeom>
              <a:solidFill>
                <a:srgbClr val="E49487"/>
              </a:solidFill>
            </p:spPr>
            <p:txBody>
              <a:bodyPr wrap="square" lIns="0" tIns="0" rIns="0" bIns="0" rtlCol="0"/>
              <a:lstStyle/>
              <a:p>
                <a:endParaRPr/>
              </a:p>
            </p:txBody>
          </p:sp>
          <p:sp>
            <p:nvSpPr>
              <p:cNvPr id="24" name="object 24"/>
              <p:cNvSpPr/>
              <p:nvPr/>
            </p:nvSpPr>
            <p:spPr>
              <a:xfrm>
                <a:off x="1241444" y="1335434"/>
                <a:ext cx="487045" cy="531495"/>
              </a:xfrm>
              <a:custGeom>
                <a:avLst/>
                <a:gdLst/>
                <a:ahLst/>
                <a:cxnLst/>
                <a:rect l="l" t="t" r="r" b="b"/>
                <a:pathLst>
                  <a:path w="487044" h="531494">
                    <a:moveTo>
                      <a:pt x="243469" y="0"/>
                    </a:moveTo>
                    <a:lnTo>
                      <a:pt x="194400" y="4946"/>
                    </a:lnTo>
                    <a:lnTo>
                      <a:pt x="148698" y="19132"/>
                    </a:lnTo>
                    <a:lnTo>
                      <a:pt x="107341" y="41580"/>
                    </a:lnTo>
                    <a:lnTo>
                      <a:pt x="71309" y="71310"/>
                    </a:lnTo>
                    <a:lnTo>
                      <a:pt x="41579" y="107344"/>
                    </a:lnTo>
                    <a:lnTo>
                      <a:pt x="19132" y="148703"/>
                    </a:lnTo>
                    <a:lnTo>
                      <a:pt x="4946" y="194407"/>
                    </a:lnTo>
                    <a:lnTo>
                      <a:pt x="0" y="243479"/>
                    </a:lnTo>
                    <a:lnTo>
                      <a:pt x="0" y="530947"/>
                    </a:lnTo>
                    <a:lnTo>
                      <a:pt x="368952" y="530947"/>
                    </a:lnTo>
                    <a:lnTo>
                      <a:pt x="486938" y="461430"/>
                    </a:lnTo>
                    <a:lnTo>
                      <a:pt x="486938" y="426615"/>
                    </a:lnTo>
                    <a:lnTo>
                      <a:pt x="287111" y="426615"/>
                    </a:lnTo>
                    <a:lnTo>
                      <a:pt x="253518" y="423236"/>
                    </a:lnTo>
                    <a:lnTo>
                      <a:pt x="216937" y="411897"/>
                    </a:lnTo>
                    <a:lnTo>
                      <a:pt x="181189" y="393291"/>
                    </a:lnTo>
                    <a:lnTo>
                      <a:pt x="150100" y="368114"/>
                    </a:lnTo>
                    <a:lnTo>
                      <a:pt x="126475" y="335852"/>
                    </a:lnTo>
                    <a:lnTo>
                      <a:pt x="119426" y="309669"/>
                    </a:lnTo>
                    <a:lnTo>
                      <a:pt x="120182" y="294623"/>
                    </a:lnTo>
                    <a:lnTo>
                      <a:pt x="140862" y="256935"/>
                    </a:lnTo>
                    <a:lnTo>
                      <a:pt x="183879" y="244285"/>
                    </a:lnTo>
                    <a:lnTo>
                      <a:pt x="255350" y="244285"/>
                    </a:lnTo>
                    <a:lnTo>
                      <a:pt x="260879" y="237234"/>
                    </a:lnTo>
                    <a:lnTo>
                      <a:pt x="272436" y="227623"/>
                    </a:lnTo>
                    <a:lnTo>
                      <a:pt x="287907" y="221741"/>
                    </a:lnTo>
                    <a:lnTo>
                      <a:pt x="306436" y="220543"/>
                    </a:lnTo>
                    <a:lnTo>
                      <a:pt x="484626" y="220543"/>
                    </a:lnTo>
                    <a:lnTo>
                      <a:pt x="481991" y="194407"/>
                    </a:lnTo>
                    <a:lnTo>
                      <a:pt x="467805" y="148703"/>
                    </a:lnTo>
                    <a:lnTo>
                      <a:pt x="445358" y="107344"/>
                    </a:lnTo>
                    <a:lnTo>
                      <a:pt x="415628" y="71310"/>
                    </a:lnTo>
                    <a:lnTo>
                      <a:pt x="379596" y="41580"/>
                    </a:lnTo>
                    <a:lnTo>
                      <a:pt x="338239" y="19132"/>
                    </a:lnTo>
                    <a:lnTo>
                      <a:pt x="292537" y="4946"/>
                    </a:lnTo>
                    <a:lnTo>
                      <a:pt x="243469" y="0"/>
                    </a:lnTo>
                    <a:close/>
                  </a:path>
                  <a:path w="487044" h="531494">
                    <a:moveTo>
                      <a:pt x="484626" y="220543"/>
                    </a:moveTo>
                    <a:lnTo>
                      <a:pt x="306436" y="220543"/>
                    </a:lnTo>
                    <a:lnTo>
                      <a:pt x="324520" y="224385"/>
                    </a:lnTo>
                    <a:lnTo>
                      <a:pt x="340587" y="232909"/>
                    </a:lnTo>
                    <a:lnTo>
                      <a:pt x="353067" y="245751"/>
                    </a:lnTo>
                    <a:lnTo>
                      <a:pt x="361556" y="265306"/>
                    </a:lnTo>
                    <a:lnTo>
                      <a:pt x="363304" y="286738"/>
                    </a:lnTo>
                    <a:lnTo>
                      <a:pt x="360051" y="308813"/>
                    </a:lnTo>
                    <a:lnTo>
                      <a:pt x="341872" y="357927"/>
                    </a:lnTo>
                    <a:lnTo>
                      <a:pt x="309874" y="404706"/>
                    </a:lnTo>
                    <a:lnTo>
                      <a:pt x="287111" y="426615"/>
                    </a:lnTo>
                    <a:lnTo>
                      <a:pt x="486938" y="426615"/>
                    </a:lnTo>
                    <a:lnTo>
                      <a:pt x="486938" y="243479"/>
                    </a:lnTo>
                    <a:lnTo>
                      <a:pt x="484626" y="220543"/>
                    </a:lnTo>
                    <a:close/>
                  </a:path>
                  <a:path w="487044" h="531494">
                    <a:moveTo>
                      <a:pt x="255350" y="244285"/>
                    </a:moveTo>
                    <a:lnTo>
                      <a:pt x="183879" y="244285"/>
                    </a:lnTo>
                    <a:lnTo>
                      <a:pt x="198986" y="246268"/>
                    </a:lnTo>
                    <a:lnTo>
                      <a:pt x="213655" y="250595"/>
                    </a:lnTo>
                    <a:lnTo>
                      <a:pt x="227496" y="257006"/>
                    </a:lnTo>
                    <a:lnTo>
                      <a:pt x="240118" y="265237"/>
                    </a:lnTo>
                    <a:lnTo>
                      <a:pt x="250889" y="249973"/>
                    </a:lnTo>
                    <a:lnTo>
                      <a:pt x="255350" y="244285"/>
                    </a:lnTo>
                    <a:close/>
                  </a:path>
                </a:pathLst>
              </a:custGeom>
              <a:solidFill>
                <a:srgbClr val="D95B2F"/>
              </a:solidFill>
            </p:spPr>
            <p:txBody>
              <a:bodyPr wrap="square" lIns="0" tIns="0" rIns="0" bIns="0" rtlCol="0"/>
              <a:lstStyle/>
              <a:p>
                <a:endParaRPr/>
              </a:p>
            </p:txBody>
          </p:sp>
          <p:pic>
            <p:nvPicPr>
              <p:cNvPr id="25" name="object 25"/>
              <p:cNvPicPr/>
              <p:nvPr/>
            </p:nvPicPr>
            <p:blipFill>
              <a:blip r:embed="rId5" cstate="print"/>
              <a:stretch>
                <a:fillRect/>
              </a:stretch>
            </p:blipFill>
            <p:spPr>
              <a:xfrm>
                <a:off x="1459737" y="2075839"/>
                <a:ext cx="72584" cy="72563"/>
              </a:xfrm>
              <a:prstGeom prst="rect">
                <a:avLst/>
              </a:prstGeom>
            </p:spPr>
          </p:pic>
          <p:sp>
            <p:nvSpPr>
              <p:cNvPr id="26" name="object 26"/>
              <p:cNvSpPr/>
              <p:nvPr/>
            </p:nvSpPr>
            <p:spPr>
              <a:xfrm>
                <a:off x="1241421" y="1866379"/>
                <a:ext cx="484505" cy="484505"/>
              </a:xfrm>
              <a:custGeom>
                <a:avLst/>
                <a:gdLst/>
                <a:ahLst/>
                <a:cxnLst/>
                <a:rect l="l" t="t" r="r" b="b"/>
                <a:pathLst>
                  <a:path w="484505" h="484505">
                    <a:moveTo>
                      <a:pt x="368983" y="0"/>
                    </a:moveTo>
                    <a:lnTo>
                      <a:pt x="0" y="0"/>
                    </a:lnTo>
                    <a:lnTo>
                      <a:pt x="0" y="484508"/>
                    </a:lnTo>
                    <a:lnTo>
                      <a:pt x="484508" y="484508"/>
                    </a:lnTo>
                    <a:lnTo>
                      <a:pt x="484508" y="389956"/>
                    </a:lnTo>
                    <a:lnTo>
                      <a:pt x="246453" y="389956"/>
                    </a:lnTo>
                    <a:lnTo>
                      <a:pt x="239835" y="383318"/>
                    </a:lnTo>
                    <a:lnTo>
                      <a:pt x="239835" y="378229"/>
                    </a:lnTo>
                    <a:lnTo>
                      <a:pt x="199093" y="378229"/>
                    </a:lnTo>
                    <a:lnTo>
                      <a:pt x="196988" y="377789"/>
                    </a:lnTo>
                    <a:lnTo>
                      <a:pt x="187554" y="373444"/>
                    </a:lnTo>
                    <a:lnTo>
                      <a:pt x="184298" y="364627"/>
                    </a:lnTo>
                    <a:lnTo>
                      <a:pt x="189864" y="352554"/>
                    </a:lnTo>
                    <a:lnTo>
                      <a:pt x="160539" y="352554"/>
                    </a:lnTo>
                    <a:lnTo>
                      <a:pt x="156759" y="351099"/>
                    </a:lnTo>
                    <a:lnTo>
                      <a:pt x="148079" y="342418"/>
                    </a:lnTo>
                    <a:lnTo>
                      <a:pt x="148079" y="333036"/>
                    </a:lnTo>
                    <a:lnTo>
                      <a:pt x="165758" y="315362"/>
                    </a:lnTo>
                    <a:lnTo>
                      <a:pt x="132896" y="315362"/>
                    </a:lnTo>
                    <a:lnTo>
                      <a:pt x="127524" y="312147"/>
                    </a:lnTo>
                    <a:lnTo>
                      <a:pt x="121629" y="299247"/>
                    </a:lnTo>
                    <a:lnTo>
                      <a:pt x="124896" y="290462"/>
                    </a:lnTo>
                    <a:lnTo>
                      <a:pt x="186622" y="262243"/>
                    </a:lnTo>
                    <a:lnTo>
                      <a:pt x="118760" y="262243"/>
                    </a:lnTo>
                    <a:lnTo>
                      <a:pt x="112111" y="255615"/>
                    </a:lnTo>
                    <a:lnTo>
                      <a:pt x="112111" y="239238"/>
                    </a:lnTo>
                    <a:lnTo>
                      <a:pt x="118760" y="232610"/>
                    </a:lnTo>
                    <a:lnTo>
                      <a:pt x="187114" y="232610"/>
                    </a:lnTo>
                    <a:lnTo>
                      <a:pt x="125032" y="203993"/>
                    </a:lnTo>
                    <a:lnTo>
                      <a:pt x="121776" y="195198"/>
                    </a:lnTo>
                    <a:lnTo>
                      <a:pt x="128645" y="180329"/>
                    </a:lnTo>
                    <a:lnTo>
                      <a:pt x="137440" y="177083"/>
                    </a:lnTo>
                    <a:lnTo>
                      <a:pt x="163345" y="177083"/>
                    </a:lnTo>
                    <a:lnTo>
                      <a:pt x="148079" y="161817"/>
                    </a:lnTo>
                    <a:lnTo>
                      <a:pt x="148079" y="152435"/>
                    </a:lnTo>
                    <a:lnTo>
                      <a:pt x="159649" y="140864"/>
                    </a:lnTo>
                    <a:lnTo>
                      <a:pt x="189629" y="140864"/>
                    </a:lnTo>
                    <a:lnTo>
                      <a:pt x="184664" y="130006"/>
                    </a:lnTo>
                    <a:lnTo>
                      <a:pt x="187941" y="121210"/>
                    </a:lnTo>
                    <a:lnTo>
                      <a:pt x="202821" y="114404"/>
                    </a:lnTo>
                    <a:lnTo>
                      <a:pt x="239835" y="114404"/>
                    </a:lnTo>
                    <a:lnTo>
                      <a:pt x="239835" y="111535"/>
                    </a:lnTo>
                    <a:lnTo>
                      <a:pt x="246453" y="104897"/>
                    </a:lnTo>
                    <a:lnTo>
                      <a:pt x="484508" y="104897"/>
                    </a:lnTo>
                    <a:lnTo>
                      <a:pt x="484508" y="51045"/>
                    </a:lnTo>
                    <a:lnTo>
                      <a:pt x="367779" y="701"/>
                    </a:lnTo>
                    <a:lnTo>
                      <a:pt x="368983" y="0"/>
                    </a:lnTo>
                    <a:close/>
                  </a:path>
                  <a:path w="484505" h="484505">
                    <a:moveTo>
                      <a:pt x="269468" y="315466"/>
                    </a:moveTo>
                    <a:lnTo>
                      <a:pt x="269468" y="383318"/>
                    </a:lnTo>
                    <a:lnTo>
                      <a:pt x="262829" y="389956"/>
                    </a:lnTo>
                    <a:lnTo>
                      <a:pt x="484508" y="389956"/>
                    </a:lnTo>
                    <a:lnTo>
                      <a:pt x="484508" y="378386"/>
                    </a:lnTo>
                    <a:lnTo>
                      <a:pt x="302147" y="378386"/>
                    </a:lnTo>
                    <a:lnTo>
                      <a:pt x="296776" y="375182"/>
                    </a:lnTo>
                    <a:lnTo>
                      <a:pt x="269468" y="315466"/>
                    </a:lnTo>
                    <a:close/>
                  </a:path>
                  <a:path w="484505" h="484505">
                    <a:moveTo>
                      <a:pt x="302315" y="316053"/>
                    </a:moveTo>
                    <a:lnTo>
                      <a:pt x="324628" y="364847"/>
                    </a:lnTo>
                    <a:lnTo>
                      <a:pt x="321361" y="373643"/>
                    </a:lnTo>
                    <a:lnTo>
                      <a:pt x="311917" y="377957"/>
                    </a:lnTo>
                    <a:lnTo>
                      <a:pt x="309823" y="378386"/>
                    </a:lnTo>
                    <a:lnTo>
                      <a:pt x="484508" y="378386"/>
                    </a:lnTo>
                    <a:lnTo>
                      <a:pt x="484508" y="352554"/>
                    </a:lnTo>
                    <a:lnTo>
                      <a:pt x="341162" y="352554"/>
                    </a:lnTo>
                    <a:lnTo>
                      <a:pt x="337361" y="351099"/>
                    </a:lnTo>
                    <a:lnTo>
                      <a:pt x="302315" y="316053"/>
                    </a:lnTo>
                    <a:close/>
                  </a:path>
                  <a:path w="484505" h="484505">
                    <a:moveTo>
                      <a:pt x="239835" y="314964"/>
                    </a:moveTo>
                    <a:lnTo>
                      <a:pt x="212129" y="375035"/>
                    </a:lnTo>
                    <a:lnTo>
                      <a:pt x="206768" y="378229"/>
                    </a:lnTo>
                    <a:lnTo>
                      <a:pt x="239835" y="378229"/>
                    </a:lnTo>
                    <a:lnTo>
                      <a:pt x="239835" y="314964"/>
                    </a:lnTo>
                    <a:close/>
                  </a:path>
                  <a:path w="484505" h="484505">
                    <a:moveTo>
                      <a:pt x="206454" y="316576"/>
                    </a:moveTo>
                    <a:lnTo>
                      <a:pt x="171931" y="351099"/>
                    </a:lnTo>
                    <a:lnTo>
                      <a:pt x="168131" y="352554"/>
                    </a:lnTo>
                    <a:lnTo>
                      <a:pt x="189864" y="352554"/>
                    </a:lnTo>
                    <a:lnTo>
                      <a:pt x="206454" y="316576"/>
                    </a:lnTo>
                    <a:close/>
                  </a:path>
                  <a:path w="484505" h="484505">
                    <a:moveTo>
                      <a:pt x="323801" y="295624"/>
                    </a:moveTo>
                    <a:lnTo>
                      <a:pt x="361214" y="333036"/>
                    </a:lnTo>
                    <a:lnTo>
                      <a:pt x="361214" y="342418"/>
                    </a:lnTo>
                    <a:lnTo>
                      <a:pt x="352533" y="351099"/>
                    </a:lnTo>
                    <a:lnTo>
                      <a:pt x="348753" y="352554"/>
                    </a:lnTo>
                    <a:lnTo>
                      <a:pt x="484508" y="352554"/>
                    </a:lnTo>
                    <a:lnTo>
                      <a:pt x="484508" y="315707"/>
                    </a:lnTo>
                    <a:lnTo>
                      <a:pt x="368543" y="315707"/>
                    </a:lnTo>
                    <a:lnTo>
                      <a:pt x="366428" y="315278"/>
                    </a:lnTo>
                    <a:lnTo>
                      <a:pt x="323801" y="295624"/>
                    </a:lnTo>
                    <a:close/>
                  </a:path>
                  <a:path w="484505" h="484505">
                    <a:moveTo>
                      <a:pt x="484508" y="177439"/>
                    </a:moveTo>
                    <a:lnTo>
                      <a:pt x="372072" y="177439"/>
                    </a:lnTo>
                    <a:lnTo>
                      <a:pt x="380857" y="180717"/>
                    </a:lnTo>
                    <a:lnTo>
                      <a:pt x="387674" y="195596"/>
                    </a:lnTo>
                    <a:lnTo>
                      <a:pt x="384396" y="204391"/>
                    </a:lnTo>
                    <a:lnTo>
                      <a:pt x="322681" y="232610"/>
                    </a:lnTo>
                    <a:lnTo>
                      <a:pt x="390532" y="232610"/>
                    </a:lnTo>
                    <a:lnTo>
                      <a:pt x="397181" y="239238"/>
                    </a:lnTo>
                    <a:lnTo>
                      <a:pt x="397181" y="255615"/>
                    </a:lnTo>
                    <a:lnTo>
                      <a:pt x="390532" y="262243"/>
                    </a:lnTo>
                    <a:lnTo>
                      <a:pt x="322178" y="262243"/>
                    </a:lnTo>
                    <a:lnTo>
                      <a:pt x="384271" y="290860"/>
                    </a:lnTo>
                    <a:lnTo>
                      <a:pt x="387516" y="299666"/>
                    </a:lnTo>
                    <a:lnTo>
                      <a:pt x="381580" y="312514"/>
                    </a:lnTo>
                    <a:lnTo>
                      <a:pt x="376218" y="315707"/>
                    </a:lnTo>
                    <a:lnTo>
                      <a:pt x="484508" y="315707"/>
                    </a:lnTo>
                    <a:lnTo>
                      <a:pt x="484508" y="177439"/>
                    </a:lnTo>
                    <a:close/>
                  </a:path>
                  <a:path w="484505" h="484505">
                    <a:moveTo>
                      <a:pt x="186025" y="295100"/>
                    </a:moveTo>
                    <a:lnTo>
                      <a:pt x="142665" y="314922"/>
                    </a:lnTo>
                    <a:lnTo>
                      <a:pt x="140571" y="315362"/>
                    </a:lnTo>
                    <a:lnTo>
                      <a:pt x="165758" y="315362"/>
                    </a:lnTo>
                    <a:lnTo>
                      <a:pt x="186025" y="295100"/>
                    </a:lnTo>
                    <a:close/>
                  </a:path>
                  <a:path w="484505" h="484505">
                    <a:moveTo>
                      <a:pt x="484508" y="140864"/>
                    </a:moveTo>
                    <a:lnTo>
                      <a:pt x="349643" y="140864"/>
                    </a:lnTo>
                    <a:lnTo>
                      <a:pt x="361214" y="152435"/>
                    </a:lnTo>
                    <a:lnTo>
                      <a:pt x="361214" y="161817"/>
                    </a:lnTo>
                    <a:lnTo>
                      <a:pt x="323267" y="199753"/>
                    </a:lnTo>
                    <a:lnTo>
                      <a:pt x="372072" y="177439"/>
                    </a:lnTo>
                    <a:lnTo>
                      <a:pt x="484508" y="177439"/>
                    </a:lnTo>
                    <a:lnTo>
                      <a:pt x="484508" y="140864"/>
                    </a:lnTo>
                    <a:close/>
                  </a:path>
                  <a:path w="484505" h="484505">
                    <a:moveTo>
                      <a:pt x="163345" y="177083"/>
                    </a:moveTo>
                    <a:lnTo>
                      <a:pt x="137440" y="177083"/>
                    </a:lnTo>
                    <a:lnTo>
                      <a:pt x="185491" y="199229"/>
                    </a:lnTo>
                    <a:lnTo>
                      <a:pt x="163345" y="177083"/>
                    </a:lnTo>
                    <a:close/>
                  </a:path>
                  <a:path w="484505" h="484505">
                    <a:moveTo>
                      <a:pt x="484508" y="104897"/>
                    </a:moveTo>
                    <a:lnTo>
                      <a:pt x="262829" y="104897"/>
                    </a:lnTo>
                    <a:lnTo>
                      <a:pt x="269468" y="111535"/>
                    </a:lnTo>
                    <a:lnTo>
                      <a:pt x="269468" y="179900"/>
                    </a:lnTo>
                    <a:lnTo>
                      <a:pt x="298085" y="117818"/>
                    </a:lnTo>
                    <a:lnTo>
                      <a:pt x="306891" y="114561"/>
                    </a:lnTo>
                    <a:lnTo>
                      <a:pt x="484508" y="114561"/>
                    </a:lnTo>
                    <a:lnTo>
                      <a:pt x="484508" y="104897"/>
                    </a:lnTo>
                    <a:close/>
                  </a:path>
                  <a:path w="484505" h="484505">
                    <a:moveTo>
                      <a:pt x="239835" y="114404"/>
                    </a:moveTo>
                    <a:lnTo>
                      <a:pt x="202821" y="114404"/>
                    </a:lnTo>
                    <a:lnTo>
                      <a:pt x="211606" y="117671"/>
                    </a:lnTo>
                    <a:lnTo>
                      <a:pt x="239835" y="179397"/>
                    </a:lnTo>
                    <a:lnTo>
                      <a:pt x="239835" y="114404"/>
                    </a:lnTo>
                    <a:close/>
                  </a:path>
                  <a:path w="484505" h="484505">
                    <a:moveTo>
                      <a:pt x="189629" y="140864"/>
                    </a:moveTo>
                    <a:lnTo>
                      <a:pt x="169041" y="140864"/>
                    </a:lnTo>
                    <a:lnTo>
                      <a:pt x="206977" y="178800"/>
                    </a:lnTo>
                    <a:lnTo>
                      <a:pt x="189629" y="140864"/>
                    </a:lnTo>
                    <a:close/>
                  </a:path>
                  <a:path w="484505" h="484505">
                    <a:moveTo>
                      <a:pt x="484508" y="114561"/>
                    </a:moveTo>
                    <a:lnTo>
                      <a:pt x="306891" y="114561"/>
                    </a:lnTo>
                    <a:lnTo>
                      <a:pt x="321749" y="121420"/>
                    </a:lnTo>
                    <a:lnTo>
                      <a:pt x="324995" y="130226"/>
                    </a:lnTo>
                    <a:lnTo>
                      <a:pt x="302838" y="178277"/>
                    </a:lnTo>
                    <a:lnTo>
                      <a:pt x="340251" y="140864"/>
                    </a:lnTo>
                    <a:lnTo>
                      <a:pt x="484508" y="140864"/>
                    </a:lnTo>
                    <a:lnTo>
                      <a:pt x="484508" y="114561"/>
                    </a:lnTo>
                    <a:close/>
                  </a:path>
                </a:pathLst>
              </a:custGeom>
              <a:solidFill>
                <a:srgbClr val="7EB97D"/>
              </a:solidFill>
            </p:spPr>
            <p:txBody>
              <a:bodyPr wrap="square" lIns="0" tIns="0" rIns="0" bIns="0" rtlCol="0"/>
              <a:lstStyle/>
              <a:p>
                <a:endParaRPr/>
              </a:p>
            </p:txBody>
          </p:sp>
          <p:pic>
            <p:nvPicPr>
              <p:cNvPr id="27" name="object 27"/>
              <p:cNvPicPr/>
              <p:nvPr/>
            </p:nvPicPr>
            <p:blipFill>
              <a:blip r:embed="rId6" cstate="print"/>
              <a:stretch>
                <a:fillRect/>
              </a:stretch>
            </p:blipFill>
            <p:spPr>
              <a:xfrm>
                <a:off x="1360871" y="1555977"/>
                <a:ext cx="243876" cy="206072"/>
              </a:xfrm>
              <a:prstGeom prst="rect">
                <a:avLst/>
              </a:prstGeom>
            </p:spPr>
          </p:pic>
          <p:sp>
            <p:nvSpPr>
              <p:cNvPr id="28" name="object 28"/>
              <p:cNvSpPr/>
              <p:nvPr/>
            </p:nvSpPr>
            <p:spPr>
              <a:xfrm>
                <a:off x="1353541" y="1971278"/>
                <a:ext cx="285115" cy="285115"/>
              </a:xfrm>
              <a:custGeom>
                <a:avLst/>
                <a:gdLst/>
                <a:ahLst/>
                <a:cxnLst/>
                <a:rect l="l" t="t" r="r" b="b"/>
                <a:pathLst>
                  <a:path w="285114" h="285114">
                    <a:moveTo>
                      <a:pt x="231024" y="210066"/>
                    </a:moveTo>
                    <a:lnTo>
                      <a:pt x="127713" y="210066"/>
                    </a:lnTo>
                    <a:lnTo>
                      <a:pt x="127713" y="278420"/>
                    </a:lnTo>
                    <a:lnTo>
                      <a:pt x="134341" y="285059"/>
                    </a:lnTo>
                    <a:lnTo>
                      <a:pt x="150707" y="285059"/>
                    </a:lnTo>
                    <a:lnTo>
                      <a:pt x="157345" y="278420"/>
                    </a:lnTo>
                    <a:lnTo>
                      <a:pt x="157345" y="210559"/>
                    </a:lnTo>
                    <a:lnTo>
                      <a:pt x="231516" y="210559"/>
                    </a:lnTo>
                    <a:lnTo>
                      <a:pt x="231024" y="210066"/>
                    </a:lnTo>
                    <a:close/>
                  </a:path>
                  <a:path w="285114" h="285114">
                    <a:moveTo>
                      <a:pt x="231516" y="210559"/>
                    </a:moveTo>
                    <a:lnTo>
                      <a:pt x="157345" y="210559"/>
                    </a:lnTo>
                    <a:lnTo>
                      <a:pt x="184654" y="270284"/>
                    </a:lnTo>
                    <a:lnTo>
                      <a:pt x="190025" y="273489"/>
                    </a:lnTo>
                    <a:lnTo>
                      <a:pt x="197700" y="273489"/>
                    </a:lnTo>
                    <a:lnTo>
                      <a:pt x="199805" y="273059"/>
                    </a:lnTo>
                    <a:lnTo>
                      <a:pt x="209239" y="268745"/>
                    </a:lnTo>
                    <a:lnTo>
                      <a:pt x="212506" y="259950"/>
                    </a:lnTo>
                    <a:lnTo>
                      <a:pt x="190203" y="211155"/>
                    </a:lnTo>
                    <a:lnTo>
                      <a:pt x="232113" y="211155"/>
                    </a:lnTo>
                    <a:lnTo>
                      <a:pt x="231516" y="210559"/>
                    </a:lnTo>
                    <a:close/>
                  </a:path>
                  <a:path w="285114" h="285114">
                    <a:moveTo>
                      <a:pt x="126969" y="211679"/>
                    </a:moveTo>
                    <a:lnTo>
                      <a:pt x="94332" y="211679"/>
                    </a:lnTo>
                    <a:lnTo>
                      <a:pt x="72175" y="259730"/>
                    </a:lnTo>
                    <a:lnTo>
                      <a:pt x="75432" y="268536"/>
                    </a:lnTo>
                    <a:lnTo>
                      <a:pt x="84866" y="272892"/>
                    </a:lnTo>
                    <a:lnTo>
                      <a:pt x="86971" y="273331"/>
                    </a:lnTo>
                    <a:lnTo>
                      <a:pt x="94656" y="273331"/>
                    </a:lnTo>
                    <a:lnTo>
                      <a:pt x="100007" y="270138"/>
                    </a:lnTo>
                    <a:lnTo>
                      <a:pt x="126969" y="211679"/>
                    </a:lnTo>
                    <a:close/>
                  </a:path>
                  <a:path w="285114" h="285114">
                    <a:moveTo>
                      <a:pt x="273711" y="190203"/>
                    </a:moveTo>
                    <a:lnTo>
                      <a:pt x="73903" y="190203"/>
                    </a:lnTo>
                    <a:lnTo>
                      <a:pt x="35957" y="228139"/>
                    </a:lnTo>
                    <a:lnTo>
                      <a:pt x="35957" y="237521"/>
                    </a:lnTo>
                    <a:lnTo>
                      <a:pt x="44637" y="246201"/>
                    </a:lnTo>
                    <a:lnTo>
                      <a:pt x="48427" y="247646"/>
                    </a:lnTo>
                    <a:lnTo>
                      <a:pt x="56008" y="247646"/>
                    </a:lnTo>
                    <a:lnTo>
                      <a:pt x="59809" y="246201"/>
                    </a:lnTo>
                    <a:lnTo>
                      <a:pt x="94332" y="211679"/>
                    </a:lnTo>
                    <a:lnTo>
                      <a:pt x="126969" y="211679"/>
                    </a:lnTo>
                    <a:lnTo>
                      <a:pt x="127713" y="210066"/>
                    </a:lnTo>
                    <a:lnTo>
                      <a:pt x="231024" y="210066"/>
                    </a:lnTo>
                    <a:lnTo>
                      <a:pt x="211679" y="190727"/>
                    </a:lnTo>
                    <a:lnTo>
                      <a:pt x="273904" y="190727"/>
                    </a:lnTo>
                    <a:lnTo>
                      <a:pt x="273711" y="190203"/>
                    </a:lnTo>
                    <a:close/>
                  </a:path>
                  <a:path w="285114" h="285114">
                    <a:moveTo>
                      <a:pt x="232113" y="211155"/>
                    </a:moveTo>
                    <a:lnTo>
                      <a:pt x="190203" y="211155"/>
                    </a:lnTo>
                    <a:lnTo>
                      <a:pt x="225239" y="246201"/>
                    </a:lnTo>
                    <a:lnTo>
                      <a:pt x="229050" y="247646"/>
                    </a:lnTo>
                    <a:lnTo>
                      <a:pt x="236631" y="247646"/>
                    </a:lnTo>
                    <a:lnTo>
                      <a:pt x="240421" y="246201"/>
                    </a:lnTo>
                    <a:lnTo>
                      <a:pt x="249102" y="237521"/>
                    </a:lnTo>
                    <a:lnTo>
                      <a:pt x="249102" y="228139"/>
                    </a:lnTo>
                    <a:lnTo>
                      <a:pt x="232113" y="211155"/>
                    </a:lnTo>
                    <a:close/>
                  </a:path>
                  <a:path w="285114" h="285114">
                    <a:moveTo>
                      <a:pt x="273904" y="190727"/>
                    </a:moveTo>
                    <a:lnTo>
                      <a:pt x="211679" y="190727"/>
                    </a:lnTo>
                    <a:lnTo>
                      <a:pt x="254316" y="210381"/>
                    </a:lnTo>
                    <a:lnTo>
                      <a:pt x="256421" y="210810"/>
                    </a:lnTo>
                    <a:lnTo>
                      <a:pt x="264096" y="210810"/>
                    </a:lnTo>
                    <a:lnTo>
                      <a:pt x="269457" y="207616"/>
                    </a:lnTo>
                    <a:lnTo>
                      <a:pt x="275394" y="194768"/>
                    </a:lnTo>
                    <a:lnTo>
                      <a:pt x="273904" y="190727"/>
                    </a:lnTo>
                    <a:close/>
                  </a:path>
                  <a:path w="285114" h="285114">
                    <a:moveTo>
                      <a:pt x="25329" y="72186"/>
                    </a:moveTo>
                    <a:lnTo>
                      <a:pt x="16523" y="75432"/>
                    </a:lnTo>
                    <a:lnTo>
                      <a:pt x="9654" y="90300"/>
                    </a:lnTo>
                    <a:lnTo>
                      <a:pt x="12910" y="99096"/>
                    </a:lnTo>
                    <a:lnTo>
                      <a:pt x="75002" y="127713"/>
                    </a:lnTo>
                    <a:lnTo>
                      <a:pt x="6638" y="127713"/>
                    </a:lnTo>
                    <a:lnTo>
                      <a:pt x="0" y="134341"/>
                    </a:lnTo>
                    <a:lnTo>
                      <a:pt x="0" y="150717"/>
                    </a:lnTo>
                    <a:lnTo>
                      <a:pt x="6638" y="157345"/>
                    </a:lnTo>
                    <a:lnTo>
                      <a:pt x="74500" y="157345"/>
                    </a:lnTo>
                    <a:lnTo>
                      <a:pt x="12774" y="185565"/>
                    </a:lnTo>
                    <a:lnTo>
                      <a:pt x="9507" y="194350"/>
                    </a:lnTo>
                    <a:lnTo>
                      <a:pt x="15402" y="207239"/>
                    </a:lnTo>
                    <a:lnTo>
                      <a:pt x="20774" y="210464"/>
                    </a:lnTo>
                    <a:lnTo>
                      <a:pt x="28449" y="210464"/>
                    </a:lnTo>
                    <a:lnTo>
                      <a:pt x="30554" y="210025"/>
                    </a:lnTo>
                    <a:lnTo>
                      <a:pt x="73903" y="190203"/>
                    </a:lnTo>
                    <a:lnTo>
                      <a:pt x="273711" y="190203"/>
                    </a:lnTo>
                    <a:lnTo>
                      <a:pt x="272148" y="185962"/>
                    </a:lnTo>
                    <a:lnTo>
                      <a:pt x="252973" y="177125"/>
                    </a:lnTo>
                    <a:lnTo>
                      <a:pt x="142487" y="177125"/>
                    </a:lnTo>
                    <a:lnTo>
                      <a:pt x="128362" y="174273"/>
                    </a:lnTo>
                    <a:lnTo>
                      <a:pt x="116826" y="166494"/>
                    </a:lnTo>
                    <a:lnTo>
                      <a:pt x="109048" y="154958"/>
                    </a:lnTo>
                    <a:lnTo>
                      <a:pt x="106195" y="140833"/>
                    </a:lnTo>
                    <a:lnTo>
                      <a:pt x="109048" y="126715"/>
                    </a:lnTo>
                    <a:lnTo>
                      <a:pt x="116826" y="115186"/>
                    </a:lnTo>
                    <a:lnTo>
                      <a:pt x="128362" y="107412"/>
                    </a:lnTo>
                    <a:lnTo>
                      <a:pt x="142487" y="104562"/>
                    </a:lnTo>
                    <a:lnTo>
                      <a:pt x="261199" y="104562"/>
                    </a:lnTo>
                    <a:lnTo>
                      <a:pt x="272284" y="99494"/>
                    </a:lnTo>
                    <a:lnTo>
                      <a:pt x="274007" y="94855"/>
                    </a:lnTo>
                    <a:lnTo>
                      <a:pt x="211155" y="94855"/>
                    </a:lnTo>
                    <a:lnTo>
                      <a:pt x="211679" y="94332"/>
                    </a:lnTo>
                    <a:lnTo>
                      <a:pt x="73369" y="94332"/>
                    </a:lnTo>
                    <a:lnTo>
                      <a:pt x="25329" y="72186"/>
                    </a:lnTo>
                    <a:close/>
                  </a:path>
                  <a:path w="285114" h="285114">
                    <a:moveTo>
                      <a:pt x="261199" y="104562"/>
                    </a:moveTo>
                    <a:lnTo>
                      <a:pt x="142487" y="104562"/>
                    </a:lnTo>
                    <a:lnTo>
                      <a:pt x="156613" y="107412"/>
                    </a:lnTo>
                    <a:lnTo>
                      <a:pt x="168149" y="115186"/>
                    </a:lnTo>
                    <a:lnTo>
                      <a:pt x="175927" y="126715"/>
                    </a:lnTo>
                    <a:lnTo>
                      <a:pt x="178779" y="140833"/>
                    </a:lnTo>
                    <a:lnTo>
                      <a:pt x="175927" y="154958"/>
                    </a:lnTo>
                    <a:lnTo>
                      <a:pt x="168149" y="166494"/>
                    </a:lnTo>
                    <a:lnTo>
                      <a:pt x="156613" y="174273"/>
                    </a:lnTo>
                    <a:lnTo>
                      <a:pt x="142487" y="177125"/>
                    </a:lnTo>
                    <a:lnTo>
                      <a:pt x="252973" y="177125"/>
                    </a:lnTo>
                    <a:lnTo>
                      <a:pt x="210056" y="157345"/>
                    </a:lnTo>
                    <a:lnTo>
                      <a:pt x="278410" y="157345"/>
                    </a:lnTo>
                    <a:lnTo>
                      <a:pt x="285059" y="150717"/>
                    </a:lnTo>
                    <a:lnTo>
                      <a:pt x="285059" y="134341"/>
                    </a:lnTo>
                    <a:lnTo>
                      <a:pt x="278410" y="127713"/>
                    </a:lnTo>
                    <a:lnTo>
                      <a:pt x="210559" y="127713"/>
                    </a:lnTo>
                    <a:lnTo>
                      <a:pt x="261199" y="104562"/>
                    </a:lnTo>
                    <a:close/>
                  </a:path>
                  <a:path w="285114" h="285114">
                    <a:moveTo>
                      <a:pt x="259950" y="72542"/>
                    </a:moveTo>
                    <a:lnTo>
                      <a:pt x="211155" y="94855"/>
                    </a:lnTo>
                    <a:lnTo>
                      <a:pt x="274007" y="94855"/>
                    </a:lnTo>
                    <a:lnTo>
                      <a:pt x="275551" y="90698"/>
                    </a:lnTo>
                    <a:lnTo>
                      <a:pt x="268745" y="75819"/>
                    </a:lnTo>
                    <a:lnTo>
                      <a:pt x="259950" y="72542"/>
                    </a:lnTo>
                    <a:close/>
                  </a:path>
                  <a:path w="285114" h="285114">
                    <a:moveTo>
                      <a:pt x="56919" y="35967"/>
                    </a:moveTo>
                    <a:lnTo>
                      <a:pt x="47537" y="35967"/>
                    </a:lnTo>
                    <a:lnTo>
                      <a:pt x="35957" y="47537"/>
                    </a:lnTo>
                    <a:lnTo>
                      <a:pt x="35957" y="56919"/>
                    </a:lnTo>
                    <a:lnTo>
                      <a:pt x="73369" y="94332"/>
                    </a:lnTo>
                    <a:lnTo>
                      <a:pt x="211679" y="94332"/>
                    </a:lnTo>
                    <a:lnTo>
                      <a:pt x="231014" y="75002"/>
                    </a:lnTo>
                    <a:lnTo>
                      <a:pt x="157345" y="75002"/>
                    </a:lnTo>
                    <a:lnTo>
                      <a:pt x="157345" y="74500"/>
                    </a:lnTo>
                    <a:lnTo>
                      <a:pt x="127713" y="74500"/>
                    </a:lnTo>
                    <a:lnTo>
                      <a:pt x="127440" y="73903"/>
                    </a:lnTo>
                    <a:lnTo>
                      <a:pt x="94855" y="73903"/>
                    </a:lnTo>
                    <a:lnTo>
                      <a:pt x="56919" y="35967"/>
                    </a:lnTo>
                    <a:close/>
                  </a:path>
                  <a:path w="285114" h="285114">
                    <a:moveTo>
                      <a:pt x="194768" y="9664"/>
                    </a:moveTo>
                    <a:lnTo>
                      <a:pt x="185962" y="12910"/>
                    </a:lnTo>
                    <a:lnTo>
                      <a:pt x="157345" y="75002"/>
                    </a:lnTo>
                    <a:lnTo>
                      <a:pt x="231014" y="75002"/>
                    </a:lnTo>
                    <a:lnTo>
                      <a:pt x="232637" y="73379"/>
                    </a:lnTo>
                    <a:lnTo>
                      <a:pt x="190716" y="73379"/>
                    </a:lnTo>
                    <a:lnTo>
                      <a:pt x="212883" y="25329"/>
                    </a:lnTo>
                    <a:lnTo>
                      <a:pt x="209627" y="16523"/>
                    </a:lnTo>
                    <a:lnTo>
                      <a:pt x="194768" y="9664"/>
                    </a:lnTo>
                    <a:close/>
                  </a:path>
                  <a:path w="285114" h="285114">
                    <a:moveTo>
                      <a:pt x="150707" y="0"/>
                    </a:moveTo>
                    <a:lnTo>
                      <a:pt x="134341" y="0"/>
                    </a:lnTo>
                    <a:lnTo>
                      <a:pt x="127713" y="6638"/>
                    </a:lnTo>
                    <a:lnTo>
                      <a:pt x="127713" y="74500"/>
                    </a:lnTo>
                    <a:lnTo>
                      <a:pt x="157345" y="74500"/>
                    </a:lnTo>
                    <a:lnTo>
                      <a:pt x="157345" y="6638"/>
                    </a:lnTo>
                    <a:lnTo>
                      <a:pt x="150707" y="0"/>
                    </a:lnTo>
                    <a:close/>
                  </a:path>
                  <a:path w="285114" h="285114">
                    <a:moveTo>
                      <a:pt x="90709" y="9507"/>
                    </a:moveTo>
                    <a:lnTo>
                      <a:pt x="75819" y="16313"/>
                    </a:lnTo>
                    <a:lnTo>
                      <a:pt x="72542" y="25109"/>
                    </a:lnTo>
                    <a:lnTo>
                      <a:pt x="94855" y="73903"/>
                    </a:lnTo>
                    <a:lnTo>
                      <a:pt x="127440" y="73903"/>
                    </a:lnTo>
                    <a:lnTo>
                      <a:pt x="99494" y="12774"/>
                    </a:lnTo>
                    <a:lnTo>
                      <a:pt x="90709" y="9507"/>
                    </a:lnTo>
                    <a:close/>
                  </a:path>
                  <a:path w="285114" h="285114">
                    <a:moveTo>
                      <a:pt x="237521" y="35967"/>
                    </a:moveTo>
                    <a:lnTo>
                      <a:pt x="228139" y="35967"/>
                    </a:lnTo>
                    <a:lnTo>
                      <a:pt x="190716" y="73379"/>
                    </a:lnTo>
                    <a:lnTo>
                      <a:pt x="232637" y="73379"/>
                    </a:lnTo>
                    <a:lnTo>
                      <a:pt x="249102" y="56919"/>
                    </a:lnTo>
                    <a:lnTo>
                      <a:pt x="249102" y="47537"/>
                    </a:lnTo>
                    <a:lnTo>
                      <a:pt x="237521" y="35967"/>
                    </a:lnTo>
                    <a:close/>
                  </a:path>
                </a:pathLst>
              </a:custGeom>
              <a:solidFill>
                <a:srgbClr val="FFFFFF"/>
              </a:solidFill>
            </p:spPr>
            <p:txBody>
              <a:bodyPr wrap="square" lIns="0" tIns="0" rIns="0" bIns="0" rtlCol="0"/>
              <a:lstStyle/>
              <a:p>
                <a:endParaRPr/>
              </a:p>
            </p:txBody>
          </p:sp>
          <p:pic>
            <p:nvPicPr>
              <p:cNvPr id="29" name="object 29"/>
              <p:cNvPicPr/>
              <p:nvPr/>
            </p:nvPicPr>
            <p:blipFill>
              <a:blip r:embed="rId7" cstate="print"/>
              <a:stretch>
                <a:fillRect/>
              </a:stretch>
            </p:blipFill>
            <p:spPr>
              <a:xfrm>
                <a:off x="1884211" y="1852160"/>
                <a:ext cx="67013" cy="67034"/>
              </a:xfrm>
              <a:prstGeom prst="rect">
                <a:avLst/>
              </a:prstGeom>
            </p:spPr>
          </p:pic>
          <p:pic>
            <p:nvPicPr>
              <p:cNvPr id="30" name="object 30"/>
              <p:cNvPicPr/>
              <p:nvPr/>
            </p:nvPicPr>
            <p:blipFill>
              <a:blip r:embed="rId7" cstate="print"/>
              <a:stretch>
                <a:fillRect/>
              </a:stretch>
            </p:blipFill>
            <p:spPr>
              <a:xfrm>
                <a:off x="1884211" y="1973925"/>
                <a:ext cx="67013" cy="67034"/>
              </a:xfrm>
              <a:prstGeom prst="rect">
                <a:avLst/>
              </a:prstGeom>
            </p:spPr>
          </p:pic>
          <p:pic>
            <p:nvPicPr>
              <p:cNvPr id="31" name="object 31"/>
              <p:cNvPicPr/>
              <p:nvPr/>
            </p:nvPicPr>
            <p:blipFill>
              <a:blip r:embed="rId7" cstate="print"/>
              <a:stretch>
                <a:fillRect/>
              </a:stretch>
            </p:blipFill>
            <p:spPr>
              <a:xfrm>
                <a:off x="1884211" y="2095684"/>
                <a:ext cx="67013" cy="67034"/>
              </a:xfrm>
              <a:prstGeom prst="rect">
                <a:avLst/>
              </a:prstGeom>
            </p:spPr>
          </p:pic>
          <p:sp>
            <p:nvSpPr>
              <p:cNvPr id="32" name="object 32"/>
              <p:cNvSpPr/>
              <p:nvPr/>
            </p:nvSpPr>
            <p:spPr>
              <a:xfrm>
                <a:off x="1609204" y="1664642"/>
                <a:ext cx="501015" cy="685800"/>
              </a:xfrm>
              <a:custGeom>
                <a:avLst/>
                <a:gdLst/>
                <a:ahLst/>
                <a:cxnLst/>
                <a:rect l="l" t="t" r="r" b="b"/>
                <a:pathLst>
                  <a:path w="501014" h="685800">
                    <a:moveTo>
                      <a:pt x="500874" y="0"/>
                    </a:moveTo>
                    <a:lnTo>
                      <a:pt x="119179" y="0"/>
                    </a:lnTo>
                    <a:lnTo>
                      <a:pt x="119179" y="132226"/>
                    </a:lnTo>
                    <a:lnTo>
                      <a:pt x="0" y="202444"/>
                    </a:lnTo>
                    <a:lnTo>
                      <a:pt x="116729" y="252777"/>
                    </a:lnTo>
                    <a:lnTo>
                      <a:pt x="116729" y="685591"/>
                    </a:lnTo>
                    <a:lnTo>
                      <a:pt x="500874" y="685591"/>
                    </a:lnTo>
                    <a:lnTo>
                      <a:pt x="500874" y="498079"/>
                    </a:lnTo>
                    <a:lnTo>
                      <a:pt x="308503" y="498079"/>
                    </a:lnTo>
                    <a:lnTo>
                      <a:pt x="295464" y="495443"/>
                    </a:lnTo>
                    <a:lnTo>
                      <a:pt x="284817" y="488258"/>
                    </a:lnTo>
                    <a:lnTo>
                      <a:pt x="277639" y="477604"/>
                    </a:lnTo>
                    <a:lnTo>
                      <a:pt x="275007" y="464561"/>
                    </a:lnTo>
                    <a:lnTo>
                      <a:pt x="277639" y="451519"/>
                    </a:lnTo>
                    <a:lnTo>
                      <a:pt x="284817" y="440864"/>
                    </a:lnTo>
                    <a:lnTo>
                      <a:pt x="295464" y="433679"/>
                    </a:lnTo>
                    <a:lnTo>
                      <a:pt x="308503" y="431044"/>
                    </a:lnTo>
                    <a:lnTo>
                      <a:pt x="500874" y="431044"/>
                    </a:lnTo>
                    <a:lnTo>
                      <a:pt x="500874" y="376313"/>
                    </a:lnTo>
                    <a:lnTo>
                      <a:pt x="308503" y="376313"/>
                    </a:lnTo>
                    <a:lnTo>
                      <a:pt x="295464" y="373677"/>
                    </a:lnTo>
                    <a:lnTo>
                      <a:pt x="284817" y="366492"/>
                    </a:lnTo>
                    <a:lnTo>
                      <a:pt x="277639" y="355838"/>
                    </a:lnTo>
                    <a:lnTo>
                      <a:pt x="275007" y="342795"/>
                    </a:lnTo>
                    <a:lnTo>
                      <a:pt x="277639" y="329753"/>
                    </a:lnTo>
                    <a:lnTo>
                      <a:pt x="284817" y="319098"/>
                    </a:lnTo>
                    <a:lnTo>
                      <a:pt x="295464" y="311913"/>
                    </a:lnTo>
                    <a:lnTo>
                      <a:pt x="308503" y="309278"/>
                    </a:lnTo>
                    <a:lnTo>
                      <a:pt x="500874" y="309278"/>
                    </a:lnTo>
                    <a:lnTo>
                      <a:pt x="500874" y="254557"/>
                    </a:lnTo>
                    <a:lnTo>
                      <a:pt x="308503" y="254557"/>
                    </a:lnTo>
                    <a:lnTo>
                      <a:pt x="275007" y="221040"/>
                    </a:lnTo>
                    <a:lnTo>
                      <a:pt x="277639" y="207993"/>
                    </a:lnTo>
                    <a:lnTo>
                      <a:pt x="284817" y="197339"/>
                    </a:lnTo>
                    <a:lnTo>
                      <a:pt x="295464" y="190156"/>
                    </a:lnTo>
                    <a:lnTo>
                      <a:pt x="308503" y="187523"/>
                    </a:lnTo>
                    <a:lnTo>
                      <a:pt x="500874" y="187523"/>
                    </a:lnTo>
                    <a:lnTo>
                      <a:pt x="500874" y="0"/>
                    </a:lnTo>
                    <a:close/>
                  </a:path>
                  <a:path w="501014" h="685800">
                    <a:moveTo>
                      <a:pt x="500874" y="431044"/>
                    </a:moveTo>
                    <a:lnTo>
                      <a:pt x="308503" y="431044"/>
                    </a:lnTo>
                    <a:lnTo>
                      <a:pt x="321555" y="433679"/>
                    </a:lnTo>
                    <a:lnTo>
                      <a:pt x="332208" y="440864"/>
                    </a:lnTo>
                    <a:lnTo>
                      <a:pt x="339388" y="451519"/>
                    </a:lnTo>
                    <a:lnTo>
                      <a:pt x="342020" y="464561"/>
                    </a:lnTo>
                    <a:lnTo>
                      <a:pt x="339388" y="477604"/>
                    </a:lnTo>
                    <a:lnTo>
                      <a:pt x="332208" y="488258"/>
                    </a:lnTo>
                    <a:lnTo>
                      <a:pt x="321555" y="495443"/>
                    </a:lnTo>
                    <a:lnTo>
                      <a:pt x="308503" y="498079"/>
                    </a:lnTo>
                    <a:lnTo>
                      <a:pt x="500874" y="498079"/>
                    </a:lnTo>
                    <a:lnTo>
                      <a:pt x="500874" y="431044"/>
                    </a:lnTo>
                    <a:close/>
                  </a:path>
                  <a:path w="501014" h="685800">
                    <a:moveTo>
                      <a:pt x="500874" y="309278"/>
                    </a:moveTo>
                    <a:lnTo>
                      <a:pt x="308503" y="309278"/>
                    </a:lnTo>
                    <a:lnTo>
                      <a:pt x="321555" y="311913"/>
                    </a:lnTo>
                    <a:lnTo>
                      <a:pt x="332208" y="319098"/>
                    </a:lnTo>
                    <a:lnTo>
                      <a:pt x="339388" y="329753"/>
                    </a:lnTo>
                    <a:lnTo>
                      <a:pt x="342020" y="342795"/>
                    </a:lnTo>
                    <a:lnTo>
                      <a:pt x="339388" y="355838"/>
                    </a:lnTo>
                    <a:lnTo>
                      <a:pt x="332208" y="366492"/>
                    </a:lnTo>
                    <a:lnTo>
                      <a:pt x="321555" y="373677"/>
                    </a:lnTo>
                    <a:lnTo>
                      <a:pt x="308503" y="376313"/>
                    </a:lnTo>
                    <a:lnTo>
                      <a:pt x="500874" y="376313"/>
                    </a:lnTo>
                    <a:lnTo>
                      <a:pt x="500874" y="309278"/>
                    </a:lnTo>
                    <a:close/>
                  </a:path>
                  <a:path w="501014" h="685800">
                    <a:moveTo>
                      <a:pt x="500874" y="187523"/>
                    </a:moveTo>
                    <a:lnTo>
                      <a:pt x="308503" y="187523"/>
                    </a:lnTo>
                    <a:lnTo>
                      <a:pt x="321555" y="190156"/>
                    </a:lnTo>
                    <a:lnTo>
                      <a:pt x="332208" y="197339"/>
                    </a:lnTo>
                    <a:lnTo>
                      <a:pt x="339388" y="207993"/>
                    </a:lnTo>
                    <a:lnTo>
                      <a:pt x="342020" y="221040"/>
                    </a:lnTo>
                    <a:lnTo>
                      <a:pt x="339388" y="234083"/>
                    </a:lnTo>
                    <a:lnTo>
                      <a:pt x="332208" y="244737"/>
                    </a:lnTo>
                    <a:lnTo>
                      <a:pt x="321555" y="251922"/>
                    </a:lnTo>
                    <a:lnTo>
                      <a:pt x="308503" y="254557"/>
                    </a:lnTo>
                    <a:lnTo>
                      <a:pt x="500874" y="254557"/>
                    </a:lnTo>
                    <a:lnTo>
                      <a:pt x="500874" y="187523"/>
                    </a:lnTo>
                    <a:close/>
                  </a:path>
                </a:pathLst>
              </a:custGeom>
              <a:solidFill>
                <a:srgbClr val="ECCC4A"/>
              </a:solidFill>
            </p:spPr>
            <p:txBody>
              <a:bodyPr wrap="square" lIns="0" tIns="0" rIns="0" bIns="0" rtlCol="0"/>
              <a:lstStyle/>
              <a:p>
                <a:endParaRPr/>
              </a:p>
            </p:txBody>
          </p:sp>
        </p:grpSp>
        <p:sp>
          <p:nvSpPr>
            <p:cNvPr id="33" name="object 33"/>
            <p:cNvSpPr/>
            <p:nvPr/>
          </p:nvSpPr>
          <p:spPr>
            <a:xfrm>
              <a:off x="2408390" y="1486007"/>
              <a:ext cx="594995" cy="349250"/>
            </a:xfrm>
            <a:custGeom>
              <a:avLst/>
              <a:gdLst/>
              <a:ahLst/>
              <a:cxnLst/>
              <a:rect l="l" t="t" r="r" b="b"/>
              <a:pathLst>
                <a:path w="594994" h="349250">
                  <a:moveTo>
                    <a:pt x="275983" y="0"/>
                  </a:moveTo>
                  <a:lnTo>
                    <a:pt x="187426" y="0"/>
                  </a:lnTo>
                  <a:lnTo>
                    <a:pt x="187426" y="225310"/>
                  </a:lnTo>
                  <a:lnTo>
                    <a:pt x="184099" y="244017"/>
                  </a:lnTo>
                  <a:lnTo>
                    <a:pt x="174510" y="260235"/>
                  </a:lnTo>
                  <a:lnTo>
                    <a:pt x="159194" y="271653"/>
                  </a:lnTo>
                  <a:lnTo>
                    <a:pt x="138722" y="275971"/>
                  </a:lnTo>
                  <a:lnTo>
                    <a:pt x="119697" y="272453"/>
                  </a:lnTo>
                  <a:lnTo>
                    <a:pt x="104228" y="262140"/>
                  </a:lnTo>
                  <a:lnTo>
                    <a:pt x="93827" y="245465"/>
                  </a:lnTo>
                  <a:lnTo>
                    <a:pt x="90030" y="222846"/>
                  </a:lnTo>
                  <a:lnTo>
                    <a:pt x="93827" y="200152"/>
                  </a:lnTo>
                  <a:lnTo>
                    <a:pt x="104228" y="183311"/>
                  </a:lnTo>
                  <a:lnTo>
                    <a:pt x="119697" y="172834"/>
                  </a:lnTo>
                  <a:lnTo>
                    <a:pt x="138722" y="169227"/>
                  </a:lnTo>
                  <a:lnTo>
                    <a:pt x="159829" y="173837"/>
                  </a:lnTo>
                  <a:lnTo>
                    <a:pt x="175069" y="186194"/>
                  </a:lnTo>
                  <a:lnTo>
                    <a:pt x="184315" y="204101"/>
                  </a:lnTo>
                  <a:lnTo>
                    <a:pt x="187426" y="225310"/>
                  </a:lnTo>
                  <a:lnTo>
                    <a:pt x="187426" y="0"/>
                  </a:lnTo>
                  <a:lnTo>
                    <a:pt x="185458" y="0"/>
                  </a:lnTo>
                  <a:lnTo>
                    <a:pt x="185458" y="122008"/>
                  </a:lnTo>
                  <a:lnTo>
                    <a:pt x="173685" y="111074"/>
                  </a:lnTo>
                  <a:lnTo>
                    <a:pt x="158419" y="102870"/>
                  </a:lnTo>
                  <a:lnTo>
                    <a:pt x="139814" y="97713"/>
                  </a:lnTo>
                  <a:lnTo>
                    <a:pt x="118071" y="95923"/>
                  </a:lnTo>
                  <a:lnTo>
                    <a:pt x="69735" y="105308"/>
                  </a:lnTo>
                  <a:lnTo>
                    <a:pt x="32473" y="131533"/>
                  </a:lnTo>
                  <a:lnTo>
                    <a:pt x="8483" y="171678"/>
                  </a:lnTo>
                  <a:lnTo>
                    <a:pt x="0" y="222846"/>
                  </a:lnTo>
                  <a:lnTo>
                    <a:pt x="7340" y="274281"/>
                  </a:lnTo>
                  <a:lnTo>
                    <a:pt x="28841" y="312940"/>
                  </a:lnTo>
                  <a:lnTo>
                    <a:pt x="63715" y="338035"/>
                  </a:lnTo>
                  <a:lnTo>
                    <a:pt x="111188" y="348780"/>
                  </a:lnTo>
                  <a:lnTo>
                    <a:pt x="132219" y="347967"/>
                  </a:lnTo>
                  <a:lnTo>
                    <a:pt x="153670" y="342950"/>
                  </a:lnTo>
                  <a:lnTo>
                    <a:pt x="173926" y="333222"/>
                  </a:lnTo>
                  <a:lnTo>
                    <a:pt x="191376" y="318287"/>
                  </a:lnTo>
                  <a:lnTo>
                    <a:pt x="195313" y="344360"/>
                  </a:lnTo>
                  <a:lnTo>
                    <a:pt x="275983" y="344360"/>
                  </a:lnTo>
                  <a:lnTo>
                    <a:pt x="275983" y="318287"/>
                  </a:lnTo>
                  <a:lnTo>
                    <a:pt x="275983" y="275971"/>
                  </a:lnTo>
                  <a:lnTo>
                    <a:pt x="275983" y="169227"/>
                  </a:lnTo>
                  <a:lnTo>
                    <a:pt x="275983" y="122008"/>
                  </a:lnTo>
                  <a:lnTo>
                    <a:pt x="275983" y="0"/>
                  </a:lnTo>
                  <a:close/>
                </a:path>
                <a:path w="594994" h="349250">
                  <a:moveTo>
                    <a:pt x="594804" y="101346"/>
                  </a:moveTo>
                  <a:lnTo>
                    <a:pt x="509714" y="101346"/>
                  </a:lnTo>
                  <a:lnTo>
                    <a:pt x="505269" y="127419"/>
                  </a:lnTo>
                  <a:lnTo>
                    <a:pt x="504774" y="126860"/>
                  </a:lnTo>
                  <a:lnTo>
                    <a:pt x="504774" y="222846"/>
                  </a:lnTo>
                  <a:lnTo>
                    <a:pt x="501230" y="243179"/>
                  </a:lnTo>
                  <a:lnTo>
                    <a:pt x="491121" y="260108"/>
                  </a:lnTo>
                  <a:lnTo>
                    <a:pt x="475310" y="271691"/>
                  </a:lnTo>
                  <a:lnTo>
                    <a:pt x="454596" y="275971"/>
                  </a:lnTo>
                  <a:lnTo>
                    <a:pt x="435571" y="272453"/>
                  </a:lnTo>
                  <a:lnTo>
                    <a:pt x="420103" y="262140"/>
                  </a:lnTo>
                  <a:lnTo>
                    <a:pt x="409702" y="245465"/>
                  </a:lnTo>
                  <a:lnTo>
                    <a:pt x="405904" y="222846"/>
                  </a:lnTo>
                  <a:lnTo>
                    <a:pt x="409702" y="200152"/>
                  </a:lnTo>
                  <a:lnTo>
                    <a:pt x="454596" y="169227"/>
                  </a:lnTo>
                  <a:lnTo>
                    <a:pt x="491680" y="183857"/>
                  </a:lnTo>
                  <a:lnTo>
                    <a:pt x="504774" y="222846"/>
                  </a:lnTo>
                  <a:lnTo>
                    <a:pt x="504774" y="126860"/>
                  </a:lnTo>
                  <a:lnTo>
                    <a:pt x="493572" y="114185"/>
                  </a:lnTo>
                  <a:lnTo>
                    <a:pt x="477723" y="104292"/>
                  </a:lnTo>
                  <a:lnTo>
                    <a:pt x="457822" y="98082"/>
                  </a:lnTo>
                  <a:lnTo>
                    <a:pt x="433959" y="95923"/>
                  </a:lnTo>
                  <a:lnTo>
                    <a:pt x="385610" y="105664"/>
                  </a:lnTo>
                  <a:lnTo>
                    <a:pt x="348348" y="132461"/>
                  </a:lnTo>
                  <a:lnTo>
                    <a:pt x="324358" y="172720"/>
                  </a:lnTo>
                  <a:lnTo>
                    <a:pt x="315874" y="222846"/>
                  </a:lnTo>
                  <a:lnTo>
                    <a:pt x="323215" y="271792"/>
                  </a:lnTo>
                  <a:lnTo>
                    <a:pt x="344716" y="310718"/>
                  </a:lnTo>
                  <a:lnTo>
                    <a:pt x="379590" y="337197"/>
                  </a:lnTo>
                  <a:lnTo>
                    <a:pt x="427062" y="348780"/>
                  </a:lnTo>
                  <a:lnTo>
                    <a:pt x="448094" y="347967"/>
                  </a:lnTo>
                  <a:lnTo>
                    <a:pt x="469557" y="342950"/>
                  </a:lnTo>
                  <a:lnTo>
                    <a:pt x="489813" y="333222"/>
                  </a:lnTo>
                  <a:lnTo>
                    <a:pt x="507250" y="318287"/>
                  </a:lnTo>
                  <a:lnTo>
                    <a:pt x="511187" y="344360"/>
                  </a:lnTo>
                  <a:lnTo>
                    <a:pt x="594804" y="344360"/>
                  </a:lnTo>
                  <a:lnTo>
                    <a:pt x="594804" y="318287"/>
                  </a:lnTo>
                  <a:lnTo>
                    <a:pt x="594804" y="275971"/>
                  </a:lnTo>
                  <a:lnTo>
                    <a:pt x="594804" y="169227"/>
                  </a:lnTo>
                  <a:lnTo>
                    <a:pt x="594804" y="127419"/>
                  </a:lnTo>
                  <a:lnTo>
                    <a:pt x="594804" y="101346"/>
                  </a:lnTo>
                  <a:close/>
                </a:path>
              </a:pathLst>
            </a:custGeom>
            <a:solidFill>
              <a:srgbClr val="16151B"/>
            </a:solidFill>
          </p:spPr>
          <p:txBody>
            <a:bodyPr wrap="square" lIns="0" tIns="0" rIns="0" bIns="0" rtlCol="0"/>
            <a:lstStyle/>
            <a:p>
              <a:endParaRPr/>
            </a:p>
          </p:txBody>
        </p:sp>
        <p:sp>
          <p:nvSpPr>
            <p:cNvPr id="34" name="object 34"/>
            <p:cNvSpPr/>
            <p:nvPr/>
          </p:nvSpPr>
          <p:spPr>
            <a:xfrm>
              <a:off x="3056382" y="1581930"/>
              <a:ext cx="699770" cy="253365"/>
            </a:xfrm>
            <a:custGeom>
              <a:avLst/>
              <a:gdLst/>
              <a:ahLst/>
              <a:cxnLst/>
              <a:rect l="l" t="t" r="r" b="b"/>
              <a:pathLst>
                <a:path w="699770" h="253364">
                  <a:moveTo>
                    <a:pt x="383705" y="113157"/>
                  </a:moveTo>
                  <a:lnTo>
                    <a:pt x="376580" y="61442"/>
                  </a:lnTo>
                  <a:lnTo>
                    <a:pt x="356958" y="26327"/>
                  </a:lnTo>
                  <a:lnTo>
                    <a:pt x="327469" y="6337"/>
                  </a:lnTo>
                  <a:lnTo>
                    <a:pt x="290728" y="0"/>
                  </a:lnTo>
                  <a:lnTo>
                    <a:pt x="266852" y="1930"/>
                  </a:lnTo>
                  <a:lnTo>
                    <a:pt x="245414" y="8051"/>
                  </a:lnTo>
                  <a:lnTo>
                    <a:pt x="226466" y="18884"/>
                  </a:lnTo>
                  <a:lnTo>
                    <a:pt x="210058" y="34937"/>
                  </a:lnTo>
                  <a:lnTo>
                    <a:pt x="198869" y="20078"/>
                  </a:lnTo>
                  <a:lnTo>
                    <a:pt x="184404" y="9410"/>
                  </a:lnTo>
                  <a:lnTo>
                    <a:pt x="167640" y="2895"/>
                  </a:lnTo>
                  <a:lnTo>
                    <a:pt x="149542" y="495"/>
                  </a:lnTo>
                  <a:lnTo>
                    <a:pt x="130644" y="2159"/>
                  </a:lnTo>
                  <a:lnTo>
                    <a:pt x="112407" y="7874"/>
                  </a:lnTo>
                  <a:lnTo>
                    <a:pt x="95999" y="17653"/>
                  </a:lnTo>
                  <a:lnTo>
                    <a:pt x="82638" y="31496"/>
                  </a:lnTo>
                  <a:lnTo>
                    <a:pt x="76250" y="5422"/>
                  </a:lnTo>
                  <a:lnTo>
                    <a:pt x="0" y="5422"/>
                  </a:lnTo>
                  <a:lnTo>
                    <a:pt x="0" y="248437"/>
                  </a:lnTo>
                  <a:lnTo>
                    <a:pt x="90017" y="248437"/>
                  </a:lnTo>
                  <a:lnTo>
                    <a:pt x="90017" y="115125"/>
                  </a:lnTo>
                  <a:lnTo>
                    <a:pt x="93078" y="97840"/>
                  </a:lnTo>
                  <a:lnTo>
                    <a:pt x="100482" y="85725"/>
                  </a:lnTo>
                  <a:lnTo>
                    <a:pt x="110642" y="78600"/>
                  </a:lnTo>
                  <a:lnTo>
                    <a:pt x="121996" y="76263"/>
                  </a:lnTo>
                  <a:lnTo>
                    <a:pt x="132842" y="78155"/>
                  </a:lnTo>
                  <a:lnTo>
                    <a:pt x="140881" y="84442"/>
                  </a:lnTo>
                  <a:lnTo>
                    <a:pt x="145872" y="95973"/>
                  </a:lnTo>
                  <a:lnTo>
                    <a:pt x="147586" y="113639"/>
                  </a:lnTo>
                  <a:lnTo>
                    <a:pt x="147586" y="248437"/>
                  </a:lnTo>
                  <a:lnTo>
                    <a:pt x="236613" y="248437"/>
                  </a:lnTo>
                  <a:lnTo>
                    <a:pt x="236613" y="114630"/>
                  </a:lnTo>
                  <a:lnTo>
                    <a:pt x="239395" y="97663"/>
                  </a:lnTo>
                  <a:lnTo>
                    <a:pt x="246646" y="86220"/>
                  </a:lnTo>
                  <a:lnTo>
                    <a:pt x="256755" y="79768"/>
                  </a:lnTo>
                  <a:lnTo>
                    <a:pt x="268097" y="77736"/>
                  </a:lnTo>
                  <a:lnTo>
                    <a:pt x="277622" y="79756"/>
                  </a:lnTo>
                  <a:lnTo>
                    <a:pt x="285623" y="86093"/>
                  </a:lnTo>
                  <a:lnTo>
                    <a:pt x="291134" y="97243"/>
                  </a:lnTo>
                  <a:lnTo>
                    <a:pt x="293179" y="113639"/>
                  </a:lnTo>
                  <a:lnTo>
                    <a:pt x="293179" y="248437"/>
                  </a:lnTo>
                  <a:lnTo>
                    <a:pt x="383705" y="248437"/>
                  </a:lnTo>
                  <a:lnTo>
                    <a:pt x="383705" y="113157"/>
                  </a:lnTo>
                  <a:close/>
                </a:path>
                <a:path w="699770" h="253364">
                  <a:moveTo>
                    <a:pt x="699592" y="5422"/>
                  </a:moveTo>
                  <a:lnTo>
                    <a:pt x="614489" y="5422"/>
                  </a:lnTo>
                  <a:lnTo>
                    <a:pt x="610057" y="31496"/>
                  </a:lnTo>
                  <a:lnTo>
                    <a:pt x="609561" y="30937"/>
                  </a:lnTo>
                  <a:lnTo>
                    <a:pt x="609561" y="126923"/>
                  </a:lnTo>
                  <a:lnTo>
                    <a:pt x="606018" y="147256"/>
                  </a:lnTo>
                  <a:lnTo>
                    <a:pt x="595909" y="164185"/>
                  </a:lnTo>
                  <a:lnTo>
                    <a:pt x="580085" y="175768"/>
                  </a:lnTo>
                  <a:lnTo>
                    <a:pt x="559384" y="180047"/>
                  </a:lnTo>
                  <a:lnTo>
                    <a:pt x="540359" y="176530"/>
                  </a:lnTo>
                  <a:lnTo>
                    <a:pt x="524891" y="166217"/>
                  </a:lnTo>
                  <a:lnTo>
                    <a:pt x="514489" y="149542"/>
                  </a:lnTo>
                  <a:lnTo>
                    <a:pt x="510692" y="126923"/>
                  </a:lnTo>
                  <a:lnTo>
                    <a:pt x="514489" y="104228"/>
                  </a:lnTo>
                  <a:lnTo>
                    <a:pt x="559384" y="73304"/>
                  </a:lnTo>
                  <a:lnTo>
                    <a:pt x="596468" y="87934"/>
                  </a:lnTo>
                  <a:lnTo>
                    <a:pt x="609561" y="126923"/>
                  </a:lnTo>
                  <a:lnTo>
                    <a:pt x="609561" y="30937"/>
                  </a:lnTo>
                  <a:lnTo>
                    <a:pt x="598360" y="18262"/>
                  </a:lnTo>
                  <a:lnTo>
                    <a:pt x="582510" y="8369"/>
                  </a:lnTo>
                  <a:lnTo>
                    <a:pt x="562610" y="2159"/>
                  </a:lnTo>
                  <a:lnTo>
                    <a:pt x="538734" y="0"/>
                  </a:lnTo>
                  <a:lnTo>
                    <a:pt x="490397" y="9740"/>
                  </a:lnTo>
                  <a:lnTo>
                    <a:pt x="453136" y="36537"/>
                  </a:lnTo>
                  <a:lnTo>
                    <a:pt x="429145" y="76796"/>
                  </a:lnTo>
                  <a:lnTo>
                    <a:pt x="420662" y="126923"/>
                  </a:lnTo>
                  <a:lnTo>
                    <a:pt x="428002" y="175869"/>
                  </a:lnTo>
                  <a:lnTo>
                    <a:pt x="449503" y="214795"/>
                  </a:lnTo>
                  <a:lnTo>
                    <a:pt x="484378" y="241274"/>
                  </a:lnTo>
                  <a:lnTo>
                    <a:pt x="531850" y="252857"/>
                  </a:lnTo>
                  <a:lnTo>
                    <a:pt x="552881" y="252044"/>
                  </a:lnTo>
                  <a:lnTo>
                    <a:pt x="574332" y="247027"/>
                  </a:lnTo>
                  <a:lnTo>
                    <a:pt x="594588" y="237299"/>
                  </a:lnTo>
                  <a:lnTo>
                    <a:pt x="612038" y="222364"/>
                  </a:lnTo>
                  <a:lnTo>
                    <a:pt x="615975" y="248437"/>
                  </a:lnTo>
                  <a:lnTo>
                    <a:pt x="699592" y="248437"/>
                  </a:lnTo>
                  <a:lnTo>
                    <a:pt x="699592" y="222364"/>
                  </a:lnTo>
                  <a:lnTo>
                    <a:pt x="699592" y="180047"/>
                  </a:lnTo>
                  <a:lnTo>
                    <a:pt x="699592" y="73304"/>
                  </a:lnTo>
                  <a:lnTo>
                    <a:pt x="699592" y="31496"/>
                  </a:lnTo>
                  <a:lnTo>
                    <a:pt x="699592" y="5422"/>
                  </a:lnTo>
                  <a:close/>
                </a:path>
              </a:pathLst>
            </a:custGeom>
            <a:solidFill>
              <a:srgbClr val="16151B"/>
            </a:solidFill>
          </p:spPr>
          <p:txBody>
            <a:bodyPr wrap="square" lIns="0" tIns="0" rIns="0" bIns="0" rtlCol="0"/>
            <a:lstStyle/>
            <a:p>
              <a:endParaRPr/>
            </a:p>
          </p:txBody>
        </p:sp>
        <p:grpSp>
          <p:nvGrpSpPr>
            <p:cNvPr id="35" name="object 35"/>
            <p:cNvGrpSpPr/>
            <p:nvPr/>
          </p:nvGrpSpPr>
          <p:grpSpPr>
            <a:xfrm>
              <a:off x="2408394" y="1917302"/>
              <a:ext cx="1346835" cy="229235"/>
              <a:chOff x="2408394" y="1917302"/>
              <a:chExt cx="1346835" cy="229235"/>
            </a:xfrm>
          </p:grpSpPr>
          <p:pic>
            <p:nvPicPr>
              <p:cNvPr id="36" name="object 36"/>
              <p:cNvPicPr/>
              <p:nvPr/>
            </p:nvPicPr>
            <p:blipFill>
              <a:blip r:embed="rId8" cstate="print"/>
              <a:stretch>
                <a:fillRect/>
              </a:stretch>
            </p:blipFill>
            <p:spPr>
              <a:xfrm>
                <a:off x="2408394" y="1980530"/>
                <a:ext cx="182884" cy="165795"/>
              </a:xfrm>
              <a:prstGeom prst="rect">
                <a:avLst/>
              </a:prstGeom>
            </p:spPr>
          </p:pic>
          <p:sp>
            <p:nvSpPr>
              <p:cNvPr id="37" name="object 37"/>
              <p:cNvSpPr/>
              <p:nvPr/>
            </p:nvSpPr>
            <p:spPr>
              <a:xfrm>
                <a:off x="2626144" y="1917312"/>
                <a:ext cx="223520" cy="226695"/>
              </a:xfrm>
              <a:custGeom>
                <a:avLst/>
                <a:gdLst/>
                <a:ahLst/>
                <a:cxnLst/>
                <a:rect l="l" t="t" r="r" b="b"/>
                <a:pathLst>
                  <a:path w="223519" h="226694">
                    <a:moveTo>
                      <a:pt x="58712" y="0"/>
                    </a:moveTo>
                    <a:lnTo>
                      <a:pt x="0" y="0"/>
                    </a:lnTo>
                    <a:lnTo>
                      <a:pt x="0" y="226110"/>
                    </a:lnTo>
                    <a:lnTo>
                      <a:pt x="58712" y="226110"/>
                    </a:lnTo>
                    <a:lnTo>
                      <a:pt x="58712" y="0"/>
                    </a:lnTo>
                    <a:close/>
                  </a:path>
                  <a:path w="223519" h="226694">
                    <a:moveTo>
                      <a:pt x="223240" y="109029"/>
                    </a:moveTo>
                    <a:lnTo>
                      <a:pt x="93560" y="109029"/>
                    </a:lnTo>
                    <a:lnTo>
                      <a:pt x="93560" y="156133"/>
                    </a:lnTo>
                    <a:lnTo>
                      <a:pt x="223240" y="156133"/>
                    </a:lnTo>
                    <a:lnTo>
                      <a:pt x="223240" y="109029"/>
                    </a:lnTo>
                    <a:close/>
                  </a:path>
                </a:pathLst>
              </a:custGeom>
              <a:solidFill>
                <a:srgbClr val="16151B"/>
              </a:solidFill>
            </p:spPr>
            <p:txBody>
              <a:bodyPr wrap="square" lIns="0" tIns="0" rIns="0" bIns="0" rtlCol="0"/>
              <a:lstStyle/>
              <a:p>
                <a:pPr algn="l" rtl="0"/>
                <a:endParaRPr/>
              </a:p>
            </p:txBody>
          </p:sp>
          <p:pic>
            <p:nvPicPr>
              <p:cNvPr id="38" name="object 38"/>
              <p:cNvPicPr/>
              <p:nvPr/>
            </p:nvPicPr>
            <p:blipFill>
              <a:blip r:embed="rId9" cstate="print"/>
              <a:stretch>
                <a:fillRect/>
              </a:stretch>
            </p:blipFill>
            <p:spPr>
              <a:xfrm>
                <a:off x="2875544" y="1980530"/>
                <a:ext cx="182894" cy="165795"/>
              </a:xfrm>
              <a:prstGeom prst="rect">
                <a:avLst/>
              </a:prstGeom>
            </p:spPr>
          </p:pic>
          <p:pic>
            <p:nvPicPr>
              <p:cNvPr id="39" name="object 39"/>
              <p:cNvPicPr/>
              <p:nvPr/>
            </p:nvPicPr>
            <p:blipFill>
              <a:blip r:embed="rId10" cstate="print"/>
              <a:stretch>
                <a:fillRect/>
              </a:stretch>
            </p:blipFill>
            <p:spPr>
              <a:xfrm>
                <a:off x="3093312" y="1980528"/>
                <a:ext cx="251604" cy="162895"/>
              </a:xfrm>
              <a:prstGeom prst="rect">
                <a:avLst/>
              </a:prstGeom>
            </p:spPr>
          </p:pic>
          <p:pic>
            <p:nvPicPr>
              <p:cNvPr id="40" name="object 40"/>
              <p:cNvPicPr/>
              <p:nvPr/>
            </p:nvPicPr>
            <p:blipFill>
              <a:blip r:embed="rId11" cstate="print"/>
              <a:stretch>
                <a:fillRect/>
              </a:stretch>
            </p:blipFill>
            <p:spPr>
              <a:xfrm>
                <a:off x="3369159" y="1980530"/>
                <a:ext cx="182894" cy="165795"/>
              </a:xfrm>
              <a:prstGeom prst="rect">
                <a:avLst/>
              </a:prstGeom>
            </p:spPr>
          </p:pic>
          <p:pic>
            <p:nvPicPr>
              <p:cNvPr id="41" name="object 41"/>
              <p:cNvPicPr/>
              <p:nvPr/>
            </p:nvPicPr>
            <p:blipFill>
              <a:blip r:embed="rId12" cstate="print"/>
              <a:stretch>
                <a:fillRect/>
              </a:stretch>
            </p:blipFill>
            <p:spPr>
              <a:xfrm>
                <a:off x="3586920" y="1980214"/>
                <a:ext cx="167743" cy="163209"/>
              </a:xfrm>
              <a:prstGeom prst="rect">
                <a:avLst/>
              </a:prstGeom>
            </p:spPr>
          </p:pic>
        </p:grpSp>
      </p:grpSp>
      <p:pic>
        <p:nvPicPr>
          <p:cNvPr id="44" name="Picture 43">
            <a:extLst>
              <a:ext uri="{FF2B5EF4-FFF2-40B4-BE49-F238E27FC236}">
                <a16:creationId xmlns:a16="http://schemas.microsoft.com/office/drawing/2014/main" id="{62184A37-65AE-A805-B937-807392C11442}"/>
              </a:ext>
            </a:extLst>
          </p:cNvPr>
          <p:cNvPicPr>
            <a:picLocks noChangeAspect="1"/>
          </p:cNvPicPr>
          <p:nvPr/>
        </p:nvPicPr>
        <p:blipFill>
          <a:blip r:embed="rId13" cstate="print">
            <a:extLst>
              <a:ext uri="{BEBA8EAE-BF5A-486C-A8C5-ECC9F3942E4B}">
                <a14:imgProps xmlns:a14="http://schemas.microsoft.com/office/drawing/2010/main">
                  <a14:imgLayer r:embed="rId14">
                    <a14:imgEffect>
                      <a14:artisticPencilSketch/>
                    </a14:imgEffect>
                  </a14:imgLayer>
                </a14:imgProps>
              </a:ext>
              <a:ext uri="{28A0092B-C50C-407E-A947-70E740481C1C}">
                <a14:useLocalDpi xmlns:a14="http://schemas.microsoft.com/office/drawing/2010/main" val="0"/>
              </a:ext>
            </a:extLst>
          </a:blip>
          <a:stretch>
            <a:fillRect/>
          </a:stretch>
        </p:blipFill>
        <p:spPr>
          <a:xfrm>
            <a:off x="14731072" y="6453659"/>
            <a:ext cx="1446464" cy="1446464"/>
          </a:xfrm>
          <a:prstGeom prst="rect">
            <a:avLst/>
          </a:prstGeom>
        </p:spPr>
      </p:pic>
      <p:grpSp>
        <p:nvGrpSpPr>
          <p:cNvPr id="3" name="Group 2">
            <a:extLst>
              <a:ext uri="{FF2B5EF4-FFF2-40B4-BE49-F238E27FC236}">
                <a16:creationId xmlns:a16="http://schemas.microsoft.com/office/drawing/2014/main" id="{F997E1CB-B892-A8F5-DEDB-C3A98F1F0419}"/>
              </a:ext>
            </a:extLst>
          </p:cNvPr>
          <p:cNvGrpSpPr/>
          <p:nvPr/>
        </p:nvGrpSpPr>
        <p:grpSpPr>
          <a:xfrm>
            <a:off x="560544" y="9709978"/>
            <a:ext cx="4207278" cy="1245268"/>
            <a:chOff x="560544" y="9709978"/>
            <a:chExt cx="4207278" cy="1245268"/>
          </a:xfrm>
        </p:grpSpPr>
        <p:pic>
          <p:nvPicPr>
            <p:cNvPr id="55" name="Picture 54" descr="A picture containing logo, clipart, text, cartoon&#10;&#10;Description automatically generated">
              <a:extLst>
                <a:ext uri="{FF2B5EF4-FFF2-40B4-BE49-F238E27FC236}">
                  <a16:creationId xmlns:a16="http://schemas.microsoft.com/office/drawing/2014/main" id="{79935088-8A57-9BD1-9F77-653AA632F125}"/>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17901" r="17889"/>
            <a:stretch/>
          </p:blipFill>
          <p:spPr>
            <a:xfrm>
              <a:off x="560544" y="9709978"/>
              <a:ext cx="1421478" cy="1245268"/>
            </a:xfrm>
            <a:prstGeom prst="rect">
              <a:avLst/>
            </a:prstGeom>
          </p:spPr>
        </p:pic>
        <p:pic>
          <p:nvPicPr>
            <p:cNvPr id="58" name="Graphic 57">
              <a:extLst>
                <a:ext uri="{FF2B5EF4-FFF2-40B4-BE49-F238E27FC236}">
                  <a16:creationId xmlns:a16="http://schemas.microsoft.com/office/drawing/2014/main" id="{E603BCB8-74C5-B815-E3DF-6304095241B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279975" y="9907290"/>
              <a:ext cx="974126" cy="850645"/>
            </a:xfrm>
            <a:prstGeom prst="rect">
              <a:avLst/>
            </a:prstGeom>
          </p:spPr>
        </p:pic>
        <p:pic>
          <p:nvPicPr>
            <p:cNvPr id="61" name="Graphic 60">
              <a:extLst>
                <a:ext uri="{FF2B5EF4-FFF2-40B4-BE49-F238E27FC236}">
                  <a16:creationId xmlns:a16="http://schemas.microsoft.com/office/drawing/2014/main" id="{46EB94BE-4160-180E-4CDA-34D0C337709B}"/>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552053" y="9966619"/>
              <a:ext cx="1215769" cy="731986"/>
            </a:xfrm>
            <a:prstGeom prst="rect">
              <a:avLst/>
            </a:prstGeom>
          </p:spPr>
        </p:pic>
      </p:grpSp>
      <p:grpSp>
        <p:nvGrpSpPr>
          <p:cNvPr id="46" name="object 14">
            <a:extLst>
              <a:ext uri="{FF2B5EF4-FFF2-40B4-BE49-F238E27FC236}">
                <a16:creationId xmlns:a16="http://schemas.microsoft.com/office/drawing/2014/main" id="{F618C853-AB20-E54F-F379-2C17A76700D4}"/>
              </a:ext>
            </a:extLst>
          </p:cNvPr>
          <p:cNvGrpSpPr/>
          <p:nvPr/>
        </p:nvGrpSpPr>
        <p:grpSpPr>
          <a:xfrm>
            <a:off x="773786" y="8337104"/>
            <a:ext cx="1729739" cy="1172210"/>
            <a:chOff x="3115172" y="8427484"/>
            <a:chExt cx="1729739" cy="1172210"/>
          </a:xfrm>
        </p:grpSpPr>
        <p:sp>
          <p:nvSpPr>
            <p:cNvPr id="47" name="object 15">
              <a:extLst>
                <a:ext uri="{FF2B5EF4-FFF2-40B4-BE49-F238E27FC236}">
                  <a16:creationId xmlns:a16="http://schemas.microsoft.com/office/drawing/2014/main" id="{4420AF6D-9774-2138-76E9-6C2DAAF0EE0C}"/>
                </a:ext>
              </a:extLst>
            </p:cNvPr>
            <p:cNvSpPr/>
            <p:nvPr/>
          </p:nvSpPr>
          <p:spPr>
            <a:xfrm>
              <a:off x="3115172" y="8638554"/>
              <a:ext cx="1729739" cy="961390"/>
            </a:xfrm>
            <a:custGeom>
              <a:avLst/>
              <a:gdLst/>
              <a:ahLst/>
              <a:cxnLst/>
              <a:rect l="l" t="t" r="r" b="b"/>
              <a:pathLst>
                <a:path w="1729739" h="961390">
                  <a:moveTo>
                    <a:pt x="1729528" y="0"/>
                  </a:moveTo>
                  <a:lnTo>
                    <a:pt x="0" y="0"/>
                  </a:lnTo>
                  <a:lnTo>
                    <a:pt x="0" y="960839"/>
                  </a:lnTo>
                  <a:lnTo>
                    <a:pt x="1729528" y="960839"/>
                  </a:lnTo>
                  <a:lnTo>
                    <a:pt x="1729528" y="0"/>
                  </a:lnTo>
                  <a:close/>
                </a:path>
              </a:pathLst>
            </a:custGeom>
            <a:solidFill>
              <a:srgbClr val="ECCC4A"/>
            </a:solidFill>
          </p:spPr>
          <p:txBody>
            <a:bodyPr wrap="square" lIns="0" tIns="0" rIns="0" bIns="0" rtlCol="0"/>
            <a:lstStyle/>
            <a:p>
              <a:endParaRPr/>
            </a:p>
          </p:txBody>
        </p:sp>
        <p:pic>
          <p:nvPicPr>
            <p:cNvPr id="48" name="object 16">
              <a:extLst>
                <a:ext uri="{FF2B5EF4-FFF2-40B4-BE49-F238E27FC236}">
                  <a16:creationId xmlns:a16="http://schemas.microsoft.com/office/drawing/2014/main" id="{EFBE8743-F14D-7A40-751D-59D1174E4832}"/>
                </a:ext>
              </a:extLst>
            </p:cNvPr>
            <p:cNvPicPr/>
            <p:nvPr/>
          </p:nvPicPr>
          <p:blipFill>
            <a:blip r:embed="rId20" cstate="print"/>
            <a:stretch>
              <a:fillRect/>
            </a:stretch>
          </p:blipFill>
          <p:spPr>
            <a:xfrm>
              <a:off x="4203433" y="9034099"/>
              <a:ext cx="169733" cy="169753"/>
            </a:xfrm>
            <a:prstGeom prst="rect">
              <a:avLst/>
            </a:prstGeom>
          </p:spPr>
        </p:pic>
        <p:pic>
          <p:nvPicPr>
            <p:cNvPr id="49" name="object 17">
              <a:extLst>
                <a:ext uri="{FF2B5EF4-FFF2-40B4-BE49-F238E27FC236}">
                  <a16:creationId xmlns:a16="http://schemas.microsoft.com/office/drawing/2014/main" id="{4BE18C3E-4687-94F3-5F46-60E41A587308}"/>
                </a:ext>
              </a:extLst>
            </p:cNvPr>
            <p:cNvPicPr/>
            <p:nvPr/>
          </p:nvPicPr>
          <p:blipFill>
            <a:blip r:embed="rId21" cstate="print"/>
            <a:stretch>
              <a:fillRect/>
            </a:stretch>
          </p:blipFill>
          <p:spPr>
            <a:xfrm>
              <a:off x="3895063" y="9034099"/>
              <a:ext cx="169743" cy="169753"/>
            </a:xfrm>
            <a:prstGeom prst="rect">
              <a:avLst/>
            </a:prstGeom>
          </p:spPr>
        </p:pic>
        <p:pic>
          <p:nvPicPr>
            <p:cNvPr id="50" name="object 18">
              <a:extLst>
                <a:ext uri="{FF2B5EF4-FFF2-40B4-BE49-F238E27FC236}">
                  <a16:creationId xmlns:a16="http://schemas.microsoft.com/office/drawing/2014/main" id="{4182FD01-81A0-192A-7A7C-2FF9967028A4}"/>
                </a:ext>
              </a:extLst>
            </p:cNvPr>
            <p:cNvPicPr/>
            <p:nvPr/>
          </p:nvPicPr>
          <p:blipFill>
            <a:blip r:embed="rId22" cstate="print"/>
            <a:stretch>
              <a:fillRect/>
            </a:stretch>
          </p:blipFill>
          <p:spPr>
            <a:xfrm>
              <a:off x="3586694" y="9034099"/>
              <a:ext cx="169743" cy="169753"/>
            </a:xfrm>
            <a:prstGeom prst="rect">
              <a:avLst/>
            </a:prstGeom>
          </p:spPr>
        </p:pic>
        <p:sp>
          <p:nvSpPr>
            <p:cNvPr id="51" name="object 19">
              <a:extLst>
                <a:ext uri="{FF2B5EF4-FFF2-40B4-BE49-F238E27FC236}">
                  <a16:creationId xmlns:a16="http://schemas.microsoft.com/office/drawing/2014/main" id="{A5E0C923-2983-941A-98AC-00AB28F4B0D1}"/>
                </a:ext>
              </a:extLst>
            </p:cNvPr>
            <p:cNvSpPr/>
            <p:nvPr/>
          </p:nvSpPr>
          <p:spPr>
            <a:xfrm>
              <a:off x="4194323" y="8427484"/>
              <a:ext cx="243840" cy="211454"/>
            </a:xfrm>
            <a:custGeom>
              <a:avLst/>
              <a:gdLst/>
              <a:ahLst/>
              <a:cxnLst/>
              <a:rect l="l" t="t" r="r" b="b"/>
              <a:pathLst>
                <a:path w="243839" h="211454">
                  <a:moveTo>
                    <a:pt x="121902" y="0"/>
                  </a:moveTo>
                  <a:lnTo>
                    <a:pt x="0" y="211145"/>
                  </a:lnTo>
                  <a:lnTo>
                    <a:pt x="243814" y="211145"/>
                  </a:lnTo>
                  <a:lnTo>
                    <a:pt x="121902" y="0"/>
                  </a:lnTo>
                  <a:close/>
                </a:path>
              </a:pathLst>
            </a:custGeom>
            <a:solidFill>
              <a:srgbClr val="ECCC4A"/>
            </a:solidFill>
          </p:spPr>
          <p:txBody>
            <a:bodyPr wrap="square" lIns="0" tIns="0" rIns="0" bIns="0" rtlCol="0"/>
            <a:lstStyle/>
            <a:p>
              <a:endParaRPr/>
            </a:p>
          </p:txBody>
        </p:sp>
      </p:gr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81704C2-B31C-0DBC-2370-F90211E3982B}"/>
              </a:ext>
            </a:extLst>
          </p:cNvPr>
          <p:cNvGraphicFramePr>
            <a:graphicFrameLocks noChangeAspect="1"/>
          </p:cNvGraphicFramePr>
          <p:nvPr>
            <p:custDataLst>
              <p:tags r:id="rId1"/>
            </p:custDataLst>
            <p:extLst>
              <p:ext uri="{D42A27DB-BD31-4B8C-83A1-F6EECF244321}">
                <p14:modId xmlns:p14="http://schemas.microsoft.com/office/powerpoint/2010/main" val="1941096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881704C2-B31C-0DBC-2370-F90211E398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object 36">
            <a:extLst>
              <a:ext uri="{FF2B5EF4-FFF2-40B4-BE49-F238E27FC236}">
                <a16:creationId xmlns:a16="http://schemas.microsoft.com/office/drawing/2014/main" id="{B39D3B60-2692-DE85-3A22-09ED3364A268}"/>
              </a:ext>
            </a:extLst>
          </p:cNvPr>
          <p:cNvSpPr txBox="1"/>
          <p:nvPr/>
        </p:nvSpPr>
        <p:spPr>
          <a:xfrm>
            <a:off x="679448" y="1528972"/>
            <a:ext cx="8263177" cy="1137043"/>
          </a:xfrm>
          <a:prstGeom prst="rect">
            <a:avLst/>
          </a:prstGeom>
        </p:spPr>
        <p:txBody>
          <a:bodyPr vert="horz" wrap="square" lIns="0" tIns="12065" rIns="0" bIns="0" rtlCol="0" anchor="t">
            <a:spAutoFit/>
          </a:bodyPr>
          <a:lstStyle/>
          <a:p>
            <a:pPr marL="12700" marR="5080">
              <a:lnSpc>
                <a:spcPct val="102299"/>
              </a:lnSpc>
              <a:spcBef>
                <a:spcPts val="95"/>
              </a:spcBef>
            </a:pPr>
            <a:r>
              <a:rPr>
                <a:solidFill>
                  <a:schemeClr val="tx1">
                    <a:lumMod val="65000"/>
                    <a:lumOff val="35000"/>
                  </a:schemeClr>
                </a:solidFill>
                <a:latin typeface="Arial Unicode MS"/>
                <a:cs typeface="Arial Unicode MS"/>
              </a:rPr>
              <a:t>Th</a:t>
            </a:r>
            <a:r>
              <a:rPr lang="en-US">
                <a:solidFill>
                  <a:schemeClr val="tx1">
                    <a:lumMod val="65000"/>
                    <a:lumOff val="35000"/>
                  </a:schemeClr>
                </a:solidFill>
                <a:latin typeface="Arial Unicode MS"/>
                <a:cs typeface="Arial Unicode MS"/>
              </a:rPr>
              <a:t>is</a:t>
            </a:r>
            <a:r>
              <a:rPr>
                <a:solidFill>
                  <a:schemeClr val="tx1">
                    <a:lumMod val="65000"/>
                    <a:lumOff val="35000"/>
                  </a:schemeClr>
                </a:solidFill>
                <a:latin typeface="Arial Unicode MS"/>
                <a:cs typeface="Arial Unicode MS"/>
              </a:rPr>
              <a:t> visual summarizes how </a:t>
            </a:r>
            <a:r>
              <a:rPr lang="en-US">
                <a:solidFill>
                  <a:schemeClr val="tx1">
                    <a:lumMod val="65000"/>
                    <a:lumOff val="35000"/>
                  </a:schemeClr>
                </a:solidFill>
                <a:latin typeface="Arial Unicode MS"/>
                <a:cs typeface="Arial Unicode MS"/>
              </a:rPr>
              <a:t>concerns of maltreatment</a:t>
            </a:r>
            <a:r>
              <a:rPr>
                <a:solidFill>
                  <a:schemeClr val="tx1">
                    <a:lumMod val="65000"/>
                    <a:lumOff val="35000"/>
                  </a:schemeClr>
                </a:solidFill>
                <a:latin typeface="Arial Unicode MS"/>
                <a:cs typeface="Arial Unicode MS"/>
              </a:rPr>
              <a:t> should be handled in</a:t>
            </a:r>
            <a:r>
              <a:rPr lang="en-US">
                <a:solidFill>
                  <a:schemeClr val="tx1">
                    <a:lumMod val="65000"/>
                    <a:lumOff val="35000"/>
                  </a:schemeClr>
                </a:solidFill>
                <a:latin typeface="Arial Unicode MS"/>
                <a:cs typeface="Arial Unicode MS"/>
              </a:rPr>
              <a:t> </a:t>
            </a:r>
            <a:r>
              <a:rPr>
                <a:solidFill>
                  <a:schemeClr val="tx1">
                    <a:lumMod val="65000"/>
                    <a:lumOff val="35000"/>
                  </a:schemeClr>
                </a:solidFill>
                <a:latin typeface="Arial Unicode MS"/>
                <a:cs typeface="Arial Unicode MS"/>
              </a:rPr>
              <a:t>cases where the alleged </a:t>
            </a:r>
            <a:r>
              <a:rPr lang="en-US">
                <a:solidFill>
                  <a:schemeClr val="tx1">
                    <a:lumMod val="65000"/>
                    <a:lumOff val="35000"/>
                  </a:schemeClr>
                </a:solidFill>
                <a:latin typeface="Arial Unicode MS"/>
                <a:cs typeface="Arial Unicode MS"/>
              </a:rPr>
              <a:t>maltreatment</a:t>
            </a:r>
            <a:r>
              <a:rPr>
                <a:solidFill>
                  <a:schemeClr val="tx1">
                    <a:lumMod val="65000"/>
                    <a:lumOff val="35000"/>
                  </a:schemeClr>
                </a:solidFill>
                <a:latin typeface="Arial Unicode MS"/>
                <a:cs typeface="Arial Unicode MS"/>
              </a:rPr>
              <a:t> occurred both inside and outside of </a:t>
            </a:r>
            <a:r>
              <a:rPr lang="en-US">
                <a:solidFill>
                  <a:schemeClr val="tx1">
                    <a:lumMod val="65000"/>
                    <a:lumOff val="35000"/>
                  </a:schemeClr>
                </a:solidFill>
                <a:latin typeface="Arial Unicode MS"/>
                <a:cs typeface="Arial Unicode MS"/>
              </a:rPr>
              <a:t>the </a:t>
            </a:r>
            <a:r>
              <a:rPr>
                <a:solidFill>
                  <a:schemeClr val="tx1">
                    <a:lumMod val="65000"/>
                    <a:lumOff val="35000"/>
                  </a:schemeClr>
                </a:solidFill>
                <a:latin typeface="Arial Unicode MS"/>
                <a:cs typeface="Arial Unicode MS"/>
              </a:rPr>
              <a:t>supervision</a:t>
            </a:r>
            <a:r>
              <a:rPr lang="en-US">
                <a:solidFill>
                  <a:schemeClr val="tx1">
                    <a:lumMod val="65000"/>
                    <a:lumOff val="35000"/>
                  </a:schemeClr>
                </a:solidFill>
                <a:latin typeface="Arial Unicode MS"/>
                <a:cs typeface="Arial Unicode MS"/>
              </a:rPr>
              <a:t> of the educational institution.</a:t>
            </a:r>
            <a:endParaRPr lang="en-US">
              <a:solidFill>
                <a:schemeClr val="tx1">
                  <a:lumMod val="65000"/>
                  <a:lumOff val="35000"/>
                </a:schemeClr>
              </a:solidFill>
              <a:latin typeface="Arial Unicode MS"/>
              <a:ea typeface="Arial Unicode MS"/>
              <a:cs typeface="Arial Unicode MS"/>
            </a:endParaRPr>
          </a:p>
          <a:p>
            <a:pPr marL="12700" marR="5080">
              <a:lnSpc>
                <a:spcPct val="102299"/>
              </a:lnSpc>
              <a:spcBef>
                <a:spcPts val="95"/>
              </a:spcBef>
            </a:pPr>
            <a:r>
              <a:rPr lang="en-US" b="1">
                <a:solidFill>
                  <a:schemeClr val="tx1">
                    <a:lumMod val="65000"/>
                    <a:lumOff val="35000"/>
                  </a:schemeClr>
                </a:solidFill>
                <a:latin typeface="Arial Unicode MS"/>
                <a:cs typeface="Arial Unicode MS"/>
              </a:rPr>
              <a:t>Figure 1. Safety Concern Referrals in Abu Dhabi Educational Institutions </a:t>
            </a:r>
            <a:endParaRPr b="1">
              <a:solidFill>
                <a:schemeClr val="tx1">
                  <a:lumMod val="65000"/>
                  <a:lumOff val="35000"/>
                </a:schemeClr>
              </a:solidFill>
              <a:latin typeface="Arial Unicode MS"/>
              <a:cs typeface="Arial Unicode MS"/>
            </a:endParaRPr>
          </a:p>
        </p:txBody>
      </p:sp>
      <p:sp>
        <p:nvSpPr>
          <p:cNvPr id="7" name="object 36">
            <a:extLst>
              <a:ext uri="{FF2B5EF4-FFF2-40B4-BE49-F238E27FC236}">
                <a16:creationId xmlns:a16="http://schemas.microsoft.com/office/drawing/2014/main" id="{01E501A3-25F7-ADEA-7570-0597AC944CD9}"/>
              </a:ext>
            </a:extLst>
          </p:cNvPr>
          <p:cNvSpPr txBox="1"/>
          <p:nvPr/>
        </p:nvSpPr>
        <p:spPr>
          <a:xfrm>
            <a:off x="679450" y="6695243"/>
            <a:ext cx="8658753" cy="2315377"/>
          </a:xfrm>
          <a:prstGeom prst="rect">
            <a:avLst/>
          </a:prstGeom>
        </p:spPr>
        <p:txBody>
          <a:bodyPr vert="horz" wrap="square" lIns="0" tIns="12065" rIns="0" bIns="0" rtlCol="0" anchor="t">
            <a:spAutoFit/>
          </a:bodyPr>
          <a:lstStyle/>
          <a:p>
            <a:pPr marL="10795">
              <a:spcBef>
                <a:spcPts val="5"/>
              </a:spcBef>
              <a:tabLst>
                <a:tab pos="221615" algn="l"/>
                <a:tab pos="222250" algn="l"/>
              </a:tabLst>
            </a:pPr>
            <a:r>
              <a:rPr lang="en-US">
                <a:solidFill>
                  <a:schemeClr val="tx1">
                    <a:lumMod val="65000"/>
                    <a:lumOff val="35000"/>
                  </a:schemeClr>
                </a:solidFill>
                <a:latin typeface="Arial Unicode MS"/>
                <a:cs typeface="Arial Unicode MS"/>
              </a:rPr>
              <a:t>Relevant contact details are as follows:</a:t>
            </a:r>
            <a:endParaRPr lang="en-US">
              <a:solidFill>
                <a:schemeClr val="tx1">
                  <a:lumMod val="65000"/>
                  <a:lumOff val="35000"/>
                </a:schemeClr>
              </a:solidFill>
            </a:endParaRPr>
          </a:p>
          <a:p>
            <a:pPr marL="353695" indent="-342900">
              <a:lnSpc>
                <a:spcPct val="150000"/>
              </a:lnSpc>
              <a:spcBef>
                <a:spcPts val="5"/>
              </a:spcBef>
              <a:buFont typeface="Arial" panose="020B0604020202020204" pitchFamily="34" charset="0"/>
              <a:buChar char="•"/>
              <a:tabLst>
                <a:tab pos="221615" algn="l"/>
                <a:tab pos="222250" algn="l"/>
              </a:tabLst>
            </a:pPr>
            <a:r>
              <a:rPr lang="en-US" b="1">
                <a:solidFill>
                  <a:schemeClr val="tx1">
                    <a:lumMod val="65000"/>
                    <a:lumOff val="35000"/>
                  </a:schemeClr>
                </a:solidFill>
                <a:latin typeface="Arial Unicode MS"/>
                <a:cs typeface="Arial Unicode MS"/>
              </a:rPr>
              <a:t>Abu Dhabi Police: 999</a:t>
            </a:r>
            <a:endParaRPr lang="en-US">
              <a:solidFill>
                <a:schemeClr val="tx1">
                  <a:lumMod val="65000"/>
                  <a:lumOff val="35000"/>
                </a:schemeClr>
              </a:solidFill>
              <a:latin typeface="Arial Unicode MS"/>
              <a:ea typeface="Arial Unicode MS"/>
              <a:cs typeface="Arial Unicode MS"/>
            </a:endParaRPr>
          </a:p>
          <a:p>
            <a:pPr marL="353695" indent="-342900">
              <a:lnSpc>
                <a:spcPct val="150000"/>
              </a:lnSpc>
              <a:spcBef>
                <a:spcPts val="5"/>
              </a:spcBef>
              <a:buFont typeface="Arial" panose="020B0604020202020204" pitchFamily="34" charset="0"/>
              <a:buChar char="•"/>
              <a:tabLst>
                <a:tab pos="221615" algn="l"/>
                <a:tab pos="222250" algn="l"/>
              </a:tabLst>
            </a:pPr>
            <a:r>
              <a:rPr lang="en-US" b="1">
                <a:solidFill>
                  <a:schemeClr val="tx1">
                    <a:lumMod val="65000"/>
                    <a:lumOff val="35000"/>
                  </a:schemeClr>
                </a:solidFill>
                <a:latin typeface="Arial Unicode MS"/>
                <a:ea typeface="Arial Unicode MS"/>
                <a:cs typeface="Arial Unicode MS"/>
              </a:rPr>
              <a:t>Ministry of Education Child Protection Unit:</a:t>
            </a:r>
            <a:r>
              <a:rPr lang="en-US">
                <a:solidFill>
                  <a:schemeClr val="tx1">
                    <a:lumMod val="65000"/>
                    <a:lumOff val="35000"/>
                  </a:schemeClr>
                </a:solidFill>
                <a:latin typeface="Arial Unicode MS"/>
                <a:ea typeface="Arial Unicode MS"/>
                <a:cs typeface="Arial Unicode MS"/>
              </a:rPr>
              <a:t> 80085; </a:t>
            </a:r>
            <a:r>
              <a:rPr lang="en-US">
                <a:solidFill>
                  <a:schemeClr val="tx1">
                    <a:lumMod val="65000"/>
                    <a:lumOff val="35000"/>
                  </a:schemeClr>
                </a:solidFill>
                <a:latin typeface="Arial Unicode MS"/>
                <a:ea typeface="Arial Unicode MS"/>
                <a:cs typeface="Arial Unicode MS"/>
                <a:hlinkClick r:id="rId5">
                  <a:extLst>
                    <a:ext uri="{A12FA001-AC4F-418D-AE19-62706E023703}">
                      <ahyp:hlinkClr xmlns:ahyp="http://schemas.microsoft.com/office/drawing/2018/hyperlinkcolor" val="tx"/>
                    </a:ext>
                  </a:extLst>
                </a:hlinkClick>
              </a:rPr>
              <a:t>cpu@moe.gov.ae</a:t>
            </a:r>
            <a:r>
              <a:rPr lang="en-US">
                <a:solidFill>
                  <a:schemeClr val="tx1">
                    <a:lumMod val="65000"/>
                    <a:lumOff val="35000"/>
                  </a:schemeClr>
                </a:solidFill>
                <a:latin typeface="Arial Unicode MS"/>
                <a:ea typeface="Arial Unicode MS"/>
                <a:cs typeface="Arial Unicode MS"/>
              </a:rPr>
              <a:t> </a:t>
            </a:r>
            <a:r>
              <a:rPr lang="en-US" i="1" u="sng">
                <a:solidFill>
                  <a:schemeClr val="tx1">
                    <a:lumMod val="65000"/>
                    <a:lumOff val="35000"/>
                  </a:schemeClr>
                </a:solidFill>
                <a:latin typeface="Arial Unicode MS"/>
                <a:ea typeface="Arial Unicode MS"/>
                <a:cs typeface="Arial Unicode MS"/>
              </a:rPr>
              <a:t>(for guidance)</a:t>
            </a:r>
            <a:r>
              <a:rPr lang="en-US">
                <a:solidFill>
                  <a:schemeClr val="tx1">
                    <a:lumMod val="65000"/>
                    <a:lumOff val="35000"/>
                  </a:schemeClr>
                </a:solidFill>
                <a:latin typeface="Arial Unicode MS"/>
                <a:ea typeface="Arial Unicode MS"/>
                <a:cs typeface="Arial Unicode MS"/>
              </a:rPr>
              <a:t> </a:t>
            </a:r>
            <a:endParaRPr lang="en-US">
              <a:solidFill>
                <a:schemeClr val="tx1">
                  <a:lumMod val="65000"/>
                  <a:lumOff val="35000"/>
                </a:schemeClr>
              </a:solidFill>
            </a:endParaRPr>
          </a:p>
          <a:p>
            <a:pPr marL="353695" indent="-342900">
              <a:lnSpc>
                <a:spcPct val="150000"/>
              </a:lnSpc>
              <a:spcBef>
                <a:spcPts val="5"/>
              </a:spcBef>
              <a:buFont typeface="Arial" panose="020B0604020202020204" pitchFamily="34" charset="0"/>
              <a:buChar char="•"/>
              <a:tabLst>
                <a:tab pos="221615" algn="l"/>
                <a:tab pos="222250" algn="l"/>
              </a:tabLst>
            </a:pPr>
            <a:r>
              <a:rPr lang="en-US" b="1">
                <a:solidFill>
                  <a:schemeClr val="tx1">
                    <a:lumMod val="65000"/>
                    <a:lumOff val="35000"/>
                  </a:schemeClr>
                </a:solidFill>
                <a:latin typeface="Arial Unicode MS"/>
                <a:ea typeface="Arial Unicode MS"/>
                <a:cs typeface="Arial Unicode MS"/>
              </a:rPr>
              <a:t>Family Care Authority</a:t>
            </a:r>
            <a:r>
              <a:rPr lang="en-US" b="1">
                <a:solidFill>
                  <a:schemeClr val="tx1">
                    <a:lumMod val="65000"/>
                    <a:lumOff val="35000"/>
                  </a:schemeClr>
                </a:solidFill>
              </a:rPr>
              <a:t>: </a:t>
            </a:r>
            <a:r>
              <a:rPr lang="en-US">
                <a:solidFill>
                  <a:schemeClr val="tx1">
                    <a:lumMod val="65000"/>
                    <a:lumOff val="35000"/>
                  </a:schemeClr>
                </a:solidFill>
                <a:latin typeface="Arial Unicode MS"/>
                <a:ea typeface="Arial Unicode MS"/>
                <a:cs typeface="Arial Unicode MS"/>
              </a:rPr>
              <a:t>800444;  </a:t>
            </a:r>
            <a:r>
              <a:rPr lang="en-US">
                <a:solidFill>
                  <a:schemeClr val="tx1">
                    <a:lumMod val="65000"/>
                    <a:lumOff val="35000"/>
                  </a:schemeClr>
                </a:solidFill>
                <a:latin typeface="Arial Unicode MS"/>
                <a:ea typeface="Arial Unicode MS"/>
                <a:cs typeface="Arial Unicode MS"/>
                <a:hlinkClick r:id="rId6">
                  <a:extLst>
                    <a:ext uri="{A12FA001-AC4F-418D-AE19-62706E023703}">
                      <ahyp:hlinkClr xmlns:ahyp="http://schemas.microsoft.com/office/drawing/2018/hyperlinkcolor" val="tx"/>
                    </a:ext>
                  </a:extLst>
                </a:hlinkClick>
              </a:rPr>
              <a:t>ICM@adfca.gov.ae</a:t>
            </a:r>
            <a:r>
              <a:rPr lang="en-US">
                <a:solidFill>
                  <a:schemeClr val="tx1">
                    <a:lumMod val="65000"/>
                    <a:lumOff val="35000"/>
                  </a:schemeClr>
                </a:solidFill>
                <a:latin typeface="Arial Unicode MS"/>
                <a:ea typeface="Arial Unicode MS"/>
                <a:cs typeface="Arial Unicode MS"/>
              </a:rPr>
              <a:t> </a:t>
            </a:r>
          </a:p>
          <a:p>
            <a:pPr marL="353695" indent="-342900">
              <a:lnSpc>
                <a:spcPct val="150000"/>
              </a:lnSpc>
              <a:spcBef>
                <a:spcPts val="5"/>
              </a:spcBef>
              <a:buFont typeface="Arial" panose="020B0604020202020204" pitchFamily="34" charset="0"/>
              <a:buChar char="•"/>
              <a:tabLst>
                <a:tab pos="221615" algn="l"/>
                <a:tab pos="222250" algn="l"/>
              </a:tabLst>
            </a:pPr>
            <a:r>
              <a:rPr lang="en-US" b="1">
                <a:solidFill>
                  <a:schemeClr val="tx1">
                    <a:lumMod val="65000"/>
                    <a:lumOff val="35000"/>
                  </a:schemeClr>
                </a:solidFill>
                <a:latin typeface="Arial Unicode MS"/>
                <a:ea typeface="Arial Unicode MS"/>
                <a:cs typeface="Arial Unicode MS"/>
              </a:rPr>
              <a:t>Safety Concern Portal:</a:t>
            </a:r>
            <a:r>
              <a:rPr lang="en-US">
                <a:solidFill>
                  <a:schemeClr val="tx1">
                    <a:lumMod val="65000"/>
                    <a:lumOff val="35000"/>
                  </a:schemeClr>
                </a:solidFill>
                <a:latin typeface="Arial Unicode MS"/>
                <a:ea typeface="Arial Unicode MS"/>
                <a:cs typeface="Arial Unicode MS"/>
              </a:rPr>
              <a:t> https://daasafetyconcern.abudhabi/</a:t>
            </a:r>
          </a:p>
        </p:txBody>
      </p:sp>
      <p:sp>
        <p:nvSpPr>
          <p:cNvPr id="13" name="object 35">
            <a:extLst>
              <a:ext uri="{FF2B5EF4-FFF2-40B4-BE49-F238E27FC236}">
                <a16:creationId xmlns:a16="http://schemas.microsoft.com/office/drawing/2014/main" id="{992C2EF1-FB03-C876-313B-ED517C34A489}"/>
              </a:ext>
            </a:extLst>
          </p:cNvPr>
          <p:cNvSpPr txBox="1"/>
          <p:nvPr/>
        </p:nvSpPr>
        <p:spPr>
          <a:xfrm>
            <a:off x="9887244" y="1512039"/>
            <a:ext cx="9753600" cy="9815892"/>
          </a:xfrm>
          <a:prstGeom prst="rect">
            <a:avLst/>
          </a:prstGeom>
        </p:spPr>
        <p:txBody>
          <a:bodyPr vert="horz" wrap="square" lIns="0" tIns="12065" rIns="0" bIns="0" rtlCol="0" anchor="t">
            <a:spAutoFit/>
          </a:bodyPr>
          <a:lstStyle/>
          <a:p>
            <a:pPr marL="12065" marR="44450" algn="l">
              <a:lnSpc>
                <a:spcPct val="102299"/>
              </a:lnSpc>
              <a:spcBef>
                <a:spcPts val="95"/>
              </a:spcBef>
              <a:tabLst>
                <a:tab pos="221615" algn="l"/>
                <a:tab pos="222250" algn="l"/>
              </a:tabLst>
            </a:pPr>
            <a:r>
              <a:rPr lang="en-US" b="1">
                <a:solidFill>
                  <a:schemeClr val="tx1">
                    <a:lumMod val="65000"/>
                    <a:lumOff val="35000"/>
                  </a:schemeClr>
                </a:solidFill>
                <a:latin typeface="Tahoma"/>
                <a:cs typeface="Tahoma"/>
              </a:rPr>
              <a:t>3. Data confidentiality:</a:t>
            </a:r>
            <a:endParaRPr lang="en-US">
              <a:solidFill>
                <a:schemeClr val="tx1">
                  <a:lumMod val="65000"/>
                  <a:lumOff val="35000"/>
                </a:schemeClr>
              </a:solidFill>
              <a:latin typeface="Tahoma"/>
              <a:ea typeface="Tahoma"/>
              <a:cs typeface="Tahoma"/>
            </a:endParaRPr>
          </a:p>
          <a:p>
            <a:pPr marL="297815" marR="44450" indent="-285750" algn="l">
              <a:lnSpc>
                <a:spcPct val="102299"/>
              </a:lnSpc>
              <a:spcBef>
                <a:spcPts val="95"/>
              </a:spcBef>
              <a:buFont typeface="Arial" panose="020B0604020202020204" pitchFamily="34" charset="0"/>
              <a:buChar char="•"/>
              <a:tabLst>
                <a:tab pos="221615" algn="l"/>
                <a:tab pos="222250" algn="l"/>
              </a:tabLst>
            </a:pPr>
            <a:endParaRPr lang="en-US">
              <a:solidFill>
                <a:schemeClr val="tx1">
                  <a:lumMod val="65000"/>
                  <a:lumOff val="35000"/>
                </a:schemeClr>
              </a:solidFill>
              <a:latin typeface="Arial Unicode MS"/>
              <a:ea typeface="Arial Unicode MS"/>
              <a:cs typeface="Arial Unicode MS"/>
            </a:endParaRPr>
          </a:p>
          <a:p>
            <a:pPr marL="297815" marR="44450" indent="-285750" algn="l">
              <a:lnSpc>
                <a:spcPct val="102299"/>
              </a:lnSpc>
              <a:spcBef>
                <a:spcPts val="95"/>
              </a:spcBef>
              <a:buFont typeface="Arial" panose="020B0604020202020204" pitchFamily="34" charset="0"/>
              <a:buChar char="•"/>
              <a:tabLst>
                <a:tab pos="221615" algn="l"/>
                <a:tab pos="222250" algn="l"/>
              </a:tabLst>
            </a:pPr>
            <a:r>
              <a:rPr lang="en-US">
                <a:solidFill>
                  <a:schemeClr val="tx1">
                    <a:lumMod val="65000"/>
                    <a:lumOff val="35000"/>
                  </a:schemeClr>
                </a:solidFill>
              </a:rPr>
              <a:t>Case reports regarding concerns threatening the child’s physical, psychological, moral or mental safety, including student maltreatment are strictly confidential. The identity of the student subject to alleged and/or suspected maltreatment or threatening his/her physical, psychological, moral or mental safety, including student maltreatment including maltreatment, and the identity of the alleged/suspected perpetrator and the person reporting the alleged/suspected case must be kept confidential by all parties.</a:t>
            </a:r>
            <a:r>
              <a:rPr>
                <a:solidFill>
                  <a:schemeClr val="tx1">
                    <a:lumMod val="65000"/>
                    <a:lumOff val="35000"/>
                  </a:schemeClr>
                </a:solidFill>
                <a:highlight>
                  <a:srgbClr val="FFFF00"/>
                </a:highlight>
                <a:latin typeface="Arial Unicode MS"/>
                <a:cs typeface="Arial Unicode MS"/>
              </a:rPr>
              <a:t> </a:t>
            </a:r>
            <a:endParaRPr lang="en-US">
              <a:solidFill>
                <a:schemeClr val="tx1">
                  <a:lumMod val="65000"/>
                  <a:lumOff val="35000"/>
                </a:schemeClr>
              </a:solidFill>
              <a:highlight>
                <a:srgbClr val="FFFF00"/>
              </a:highlight>
              <a:latin typeface="Arial Unicode MS"/>
              <a:cs typeface="Arial Unicode MS"/>
            </a:endParaRPr>
          </a:p>
          <a:p>
            <a:pPr marL="297815" marR="44450" indent="-285750" algn="l">
              <a:lnSpc>
                <a:spcPct val="102299"/>
              </a:lnSpc>
              <a:spcBef>
                <a:spcPts val="95"/>
              </a:spcBef>
              <a:buFont typeface="Arial" panose="020B0604020202020204" pitchFamily="34" charset="0"/>
              <a:buChar char="•"/>
              <a:tabLst>
                <a:tab pos="221615" algn="l"/>
                <a:tab pos="222250" algn="l"/>
              </a:tabLst>
            </a:pPr>
            <a:endParaRPr lang="en-US">
              <a:solidFill>
                <a:schemeClr val="tx1">
                  <a:lumMod val="65000"/>
                  <a:lumOff val="35000"/>
                </a:schemeClr>
              </a:solidFill>
              <a:latin typeface="Arial Unicode MS"/>
              <a:cs typeface="Arial Unicode MS"/>
            </a:endParaRPr>
          </a:p>
          <a:p>
            <a:pPr marL="297815" marR="44450" indent="-285750" algn="l">
              <a:lnSpc>
                <a:spcPct val="102299"/>
              </a:lnSpc>
              <a:spcBef>
                <a:spcPts val="95"/>
              </a:spcBef>
              <a:buFont typeface="Arial" panose="020B0604020202020204" pitchFamily="34" charset="0"/>
              <a:buChar char="•"/>
              <a:tabLst>
                <a:tab pos="221615" algn="l"/>
                <a:tab pos="222250" algn="l"/>
              </a:tabLst>
            </a:pPr>
            <a:r>
              <a:rPr>
                <a:solidFill>
                  <a:schemeClr val="tx1">
                    <a:lumMod val="65000"/>
                    <a:lumOff val="35000"/>
                  </a:schemeClr>
                </a:solidFill>
                <a:latin typeface="Arial Unicode MS"/>
                <a:cs typeface="Arial Unicode MS"/>
              </a:rPr>
              <a:t>The data should be shared only with authorized individuals from the relevant</a:t>
            </a:r>
            <a:r>
              <a:rPr lang="en-US">
                <a:solidFill>
                  <a:schemeClr val="tx1">
                    <a:lumMod val="65000"/>
                    <a:lumOff val="35000"/>
                  </a:schemeClr>
                </a:solidFill>
                <a:latin typeface="Arial Unicode MS"/>
                <a:cs typeface="Arial Unicode MS"/>
              </a:rPr>
              <a:t> CPU </a:t>
            </a:r>
            <a:r>
              <a:rPr>
                <a:solidFill>
                  <a:schemeClr val="tx1">
                    <a:lumMod val="65000"/>
                    <a:lumOff val="35000"/>
                  </a:schemeClr>
                </a:solidFill>
                <a:latin typeface="Arial Unicode MS"/>
                <a:cs typeface="Arial Unicode MS"/>
              </a:rPr>
              <a:t>and the </a:t>
            </a:r>
            <a:r>
              <a:rPr lang="en-US">
                <a:solidFill>
                  <a:schemeClr val="tx1">
                    <a:lumMod val="65000"/>
                    <a:lumOff val="35000"/>
                  </a:schemeClr>
                </a:solidFill>
                <a:latin typeface="Arial Unicode MS"/>
                <a:cs typeface="Arial Unicode MS"/>
              </a:rPr>
              <a:t>FCA</a:t>
            </a:r>
            <a:r>
              <a:rPr>
                <a:solidFill>
                  <a:schemeClr val="tx1">
                    <a:lumMod val="65000"/>
                    <a:lumOff val="35000"/>
                  </a:schemeClr>
                </a:solidFill>
                <a:latin typeface="Arial Unicode MS"/>
                <a:cs typeface="Arial Unicode MS"/>
              </a:rPr>
              <a:t>,</a:t>
            </a:r>
            <a:r>
              <a:rPr lang="en-US">
                <a:solidFill>
                  <a:schemeClr val="tx1">
                    <a:lumMod val="65000"/>
                    <a:lumOff val="35000"/>
                  </a:schemeClr>
                </a:solidFill>
                <a:latin typeface="Arial Unicode MS"/>
                <a:cs typeface="Arial Unicode MS"/>
              </a:rPr>
              <a:t> </a:t>
            </a:r>
            <a:r>
              <a:rPr>
                <a:solidFill>
                  <a:schemeClr val="tx1">
                    <a:lumMod val="65000"/>
                    <a:lumOff val="35000"/>
                  </a:schemeClr>
                </a:solidFill>
                <a:latin typeface="Arial Unicode MS"/>
                <a:cs typeface="Arial Unicode MS"/>
              </a:rPr>
              <a:t>investigative</a:t>
            </a:r>
            <a:r>
              <a:rPr lang="en-US">
                <a:solidFill>
                  <a:schemeClr val="tx1">
                    <a:lumMod val="65000"/>
                    <a:lumOff val="35000"/>
                  </a:schemeClr>
                </a:solidFill>
                <a:latin typeface="Arial Unicode MS"/>
                <a:cs typeface="Arial Unicode MS"/>
              </a:rPr>
              <a:t> teams </a:t>
            </a:r>
            <a:r>
              <a:rPr>
                <a:solidFill>
                  <a:schemeClr val="tx1">
                    <a:lumMod val="65000"/>
                    <a:lumOff val="35000"/>
                  </a:schemeClr>
                </a:solidFill>
                <a:latin typeface="Arial Unicode MS"/>
                <a:cs typeface="Arial Unicode MS"/>
              </a:rPr>
              <a:t>and the Abu Dhabi Judicial Department.</a:t>
            </a:r>
            <a:endParaRPr>
              <a:solidFill>
                <a:schemeClr val="tx1">
                  <a:lumMod val="65000"/>
                  <a:lumOff val="35000"/>
                </a:schemeClr>
              </a:solidFill>
              <a:latin typeface="Arial Unicode MS"/>
              <a:ea typeface="Arial Unicode MS"/>
              <a:cs typeface="Arial Unicode MS"/>
            </a:endParaRPr>
          </a:p>
          <a:p>
            <a:pPr marL="297815" marR="5080" indent="-285750" algn="l">
              <a:lnSpc>
                <a:spcPct val="102299"/>
              </a:lnSpc>
              <a:spcBef>
                <a:spcPts val="1155"/>
              </a:spcBef>
              <a:buFont typeface="Arial" panose="020B0604020202020204" pitchFamily="34" charset="0"/>
              <a:buChar char="•"/>
              <a:tabLst>
                <a:tab pos="221615" algn="l"/>
                <a:tab pos="222250" algn="l"/>
              </a:tabLst>
            </a:pPr>
            <a:r>
              <a:rPr lang="en-US">
                <a:solidFill>
                  <a:schemeClr val="tx1">
                    <a:lumMod val="65000"/>
                    <a:lumOff val="35000"/>
                  </a:schemeClr>
                </a:solidFill>
                <a:latin typeface="Arial Unicode MS"/>
                <a:cs typeface="Arial Unicode MS"/>
              </a:rPr>
              <a:t>Authorized individuals </a:t>
            </a:r>
            <a:r>
              <a:rPr>
                <a:solidFill>
                  <a:schemeClr val="tx1">
                    <a:lumMod val="65000"/>
                    <a:lumOff val="35000"/>
                  </a:schemeClr>
                </a:solidFill>
                <a:latin typeface="Arial Unicode MS"/>
                <a:cs typeface="Arial Unicode MS"/>
              </a:rPr>
              <a:t>are strictly prohibited from</a:t>
            </a:r>
            <a:r>
              <a:rPr lang="en-US">
                <a:solidFill>
                  <a:schemeClr val="tx1">
                    <a:lumMod val="65000"/>
                    <a:lumOff val="35000"/>
                  </a:schemeClr>
                </a:solidFill>
                <a:latin typeface="Arial Unicode MS"/>
                <a:cs typeface="Arial Unicode MS"/>
              </a:rPr>
              <a:t> </a:t>
            </a:r>
            <a:r>
              <a:rPr>
                <a:solidFill>
                  <a:schemeClr val="tx1">
                    <a:lumMod val="65000"/>
                    <a:lumOff val="35000"/>
                  </a:schemeClr>
                </a:solidFill>
                <a:latin typeface="Arial Unicode MS"/>
                <a:cs typeface="Arial Unicode MS"/>
              </a:rPr>
              <a:t>discussing active </a:t>
            </a:r>
            <a:r>
              <a:rPr lang="en-US">
                <a:solidFill>
                  <a:schemeClr val="tx1">
                    <a:lumMod val="65000"/>
                    <a:lumOff val="35000"/>
                  </a:schemeClr>
                </a:solidFill>
                <a:latin typeface="Arial Unicode MS"/>
                <a:cs typeface="Arial Unicode MS"/>
              </a:rPr>
              <a:t>and/</a:t>
            </a:r>
            <a:r>
              <a:rPr>
                <a:solidFill>
                  <a:schemeClr val="tx1">
                    <a:lumMod val="65000"/>
                    <a:lumOff val="35000"/>
                  </a:schemeClr>
                </a:solidFill>
                <a:latin typeface="Arial Unicode MS"/>
                <a:cs typeface="Arial Unicode MS"/>
              </a:rPr>
              <a:t>or closed cases with the media, any third parties or other</a:t>
            </a:r>
            <a:r>
              <a:rPr lang="en-US">
                <a:solidFill>
                  <a:schemeClr val="tx1">
                    <a:lumMod val="65000"/>
                    <a:lumOff val="35000"/>
                  </a:schemeClr>
                </a:solidFill>
                <a:latin typeface="Arial Unicode MS"/>
                <a:cs typeface="Arial Unicode MS"/>
              </a:rPr>
              <a:t> </a:t>
            </a:r>
            <a:r>
              <a:rPr>
                <a:solidFill>
                  <a:schemeClr val="tx1">
                    <a:lumMod val="65000"/>
                    <a:lumOff val="35000"/>
                  </a:schemeClr>
                </a:solidFill>
                <a:latin typeface="Arial Unicode MS"/>
                <a:cs typeface="Arial Unicode MS"/>
              </a:rPr>
              <a:t>staff, and/or unauthorized departmental staff, with the exception of investigative</a:t>
            </a:r>
            <a:r>
              <a:rPr lang="en-US">
                <a:solidFill>
                  <a:schemeClr val="tx1">
                    <a:lumMod val="65000"/>
                    <a:lumOff val="35000"/>
                  </a:schemeClr>
                </a:solidFill>
                <a:latin typeface="Arial Unicode MS"/>
                <a:cs typeface="Arial Unicode MS"/>
              </a:rPr>
              <a:t> </a:t>
            </a:r>
            <a:r>
              <a:rPr>
                <a:solidFill>
                  <a:schemeClr val="tx1">
                    <a:lumMod val="65000"/>
                    <a:lumOff val="35000"/>
                  </a:schemeClr>
                </a:solidFill>
                <a:latin typeface="Arial Unicode MS"/>
                <a:cs typeface="Arial Unicode MS"/>
              </a:rPr>
              <a:t>and judicial authorities </a:t>
            </a:r>
            <a:r>
              <a:rPr lang="en-US">
                <a:solidFill>
                  <a:schemeClr val="tx1">
                    <a:lumMod val="65000"/>
                    <a:lumOff val="35000"/>
                  </a:schemeClr>
                </a:solidFill>
                <a:latin typeface="Arial Unicode MS"/>
                <a:cs typeface="Arial Unicode MS"/>
              </a:rPr>
              <a:t>as part of their </a:t>
            </a:r>
            <a:r>
              <a:rPr>
                <a:solidFill>
                  <a:schemeClr val="tx1">
                    <a:lumMod val="65000"/>
                    <a:lumOff val="35000"/>
                  </a:schemeClr>
                </a:solidFill>
                <a:latin typeface="Arial Unicode MS"/>
                <a:cs typeface="Arial Unicode MS"/>
              </a:rPr>
              <a:t>legal responsibilities</a:t>
            </a:r>
            <a:r>
              <a:rPr lang="en-US">
                <a:solidFill>
                  <a:schemeClr val="tx1">
                    <a:lumMod val="65000"/>
                    <a:lumOff val="35000"/>
                  </a:schemeClr>
                </a:solidFill>
                <a:latin typeface="Arial Unicode MS"/>
                <a:cs typeface="Arial Unicode MS"/>
              </a:rPr>
              <a:t> in this regard</a:t>
            </a:r>
            <a:r>
              <a:rPr>
                <a:solidFill>
                  <a:schemeClr val="tx1">
                    <a:lumMod val="65000"/>
                    <a:lumOff val="35000"/>
                  </a:schemeClr>
                </a:solidFill>
                <a:latin typeface="Arial Unicode MS"/>
                <a:cs typeface="Arial Unicode MS"/>
              </a:rPr>
              <a:t>.</a:t>
            </a:r>
            <a:endParaRPr lang="en-US">
              <a:solidFill>
                <a:schemeClr val="tx1">
                  <a:lumMod val="65000"/>
                  <a:lumOff val="35000"/>
                </a:schemeClr>
              </a:solidFill>
              <a:latin typeface="Arial Unicode MS"/>
              <a:ea typeface="Arial Unicode MS"/>
              <a:cs typeface="Arial Unicode MS"/>
            </a:endParaRPr>
          </a:p>
          <a:p>
            <a:pPr marL="12065" marR="5080" algn="l">
              <a:lnSpc>
                <a:spcPct val="102299"/>
              </a:lnSpc>
              <a:spcBef>
                <a:spcPts val="1155"/>
              </a:spcBef>
              <a:tabLst>
                <a:tab pos="221615" algn="l"/>
                <a:tab pos="222250" algn="l"/>
              </a:tabLst>
            </a:pPr>
            <a:r>
              <a:rPr lang="en-US" b="1">
                <a:solidFill>
                  <a:schemeClr val="tx1">
                    <a:lumMod val="65000"/>
                    <a:lumOff val="35000"/>
                  </a:schemeClr>
                </a:solidFill>
                <a:latin typeface="Tahoma"/>
                <a:cs typeface="Tahoma"/>
              </a:rPr>
              <a:t>4. Training</a:t>
            </a:r>
            <a:endParaRPr lang="en-AE">
              <a:solidFill>
                <a:schemeClr val="tx1">
                  <a:lumMod val="65000"/>
                  <a:lumOff val="35000"/>
                </a:schemeClr>
              </a:solidFill>
              <a:latin typeface="Arial Unicode MS"/>
              <a:ea typeface="Arial Unicode MS"/>
              <a:cs typeface="Arial Unicode MS"/>
            </a:endParaRPr>
          </a:p>
          <a:p>
            <a:pPr marL="297815" marR="5080" indent="-285750">
              <a:spcBef>
                <a:spcPts val="1200"/>
              </a:spcBef>
              <a:buFont typeface="Arial" panose="020B0604020202020204" pitchFamily="34" charset="0"/>
              <a:buChar char="•"/>
              <a:tabLst>
                <a:tab pos="221615" algn="l"/>
                <a:tab pos="222250" algn="l"/>
              </a:tabLst>
            </a:pPr>
            <a:r>
              <a:rPr lang="en-US">
                <a:solidFill>
                  <a:srgbClr val="666666"/>
                </a:solidFill>
              </a:rPr>
              <a:t>Given the critical importance of understanding and complying with all aspects of this policy to ensure the protection of students, educational departments shall undergo mandatory child protection training and/or coordinate with relevant agencies the delivery of the training for leadership and other specified staff in educational institutions.</a:t>
            </a:r>
          </a:p>
          <a:p>
            <a:pPr marL="297815" marR="5080" indent="-285750">
              <a:spcBef>
                <a:spcPts val="1200"/>
              </a:spcBef>
              <a:buFont typeface="Arial" panose="020B0604020202020204" pitchFamily="34" charset="0"/>
              <a:buChar char="•"/>
              <a:tabLst>
                <a:tab pos="221615" algn="l"/>
                <a:tab pos="222250" algn="l"/>
              </a:tabLst>
            </a:pPr>
            <a:r>
              <a:rPr lang="en-US">
                <a:solidFill>
                  <a:srgbClr val="666666"/>
                </a:solidFill>
                <a:latin typeface="Arial Unicode MS"/>
                <a:cs typeface="Arial Unicode MS"/>
              </a:rPr>
              <a:t>All staff in schools and nurseries shall complete the student protection and safeguarding measures training sessions and sign off that they have received training and understand their responsibilities.</a:t>
            </a:r>
            <a:endParaRPr lang="en-US">
              <a:latin typeface="Arial Unicode MS"/>
              <a:cs typeface="Arial Unicode MS"/>
            </a:endParaRPr>
          </a:p>
          <a:p>
            <a:pPr marL="297815" marR="133350" indent="-285750">
              <a:spcBef>
                <a:spcPts val="1200"/>
              </a:spcBef>
              <a:buFont typeface="Arial" panose="020B0604020202020204" pitchFamily="34" charset="0"/>
              <a:buChar char="•"/>
              <a:tabLst>
                <a:tab pos="221615" algn="l"/>
                <a:tab pos="222250" algn="l"/>
              </a:tabLst>
            </a:pPr>
            <a:r>
              <a:rPr lang="en-US">
                <a:solidFill>
                  <a:srgbClr val="666666"/>
                </a:solidFill>
              </a:rPr>
              <a:t>Volunteers shall receive raining on student protection policy and safeguarding measures. All invited visitors shall also be required to attest they have read and understood the school’s student protection policy.</a:t>
            </a:r>
          </a:p>
          <a:p>
            <a:pPr marL="297815" marR="122555" indent="-285750">
              <a:spcBef>
                <a:spcPts val="1200"/>
              </a:spcBef>
              <a:buFont typeface="Arial" panose="020B0604020202020204" pitchFamily="34" charset="0"/>
              <a:buChar char="•"/>
              <a:tabLst>
                <a:tab pos="221615" algn="l"/>
                <a:tab pos="222250" algn="l"/>
              </a:tabLst>
            </a:pPr>
            <a:r>
              <a:rPr lang="en-US">
                <a:solidFill>
                  <a:srgbClr val="666666"/>
                </a:solidFill>
                <a:latin typeface="Arial Unicode MS"/>
                <a:cs typeface="Arial Unicode MS"/>
              </a:rPr>
              <a:t>Any staff providing counseling, support, advocacy or being in direct contact with students shall receive continuous training in student protection and safeguarding measures and be properly supervised by the principal.</a:t>
            </a:r>
            <a:endParaRPr lang="en-US">
              <a:latin typeface="Arial Unicode MS"/>
              <a:cs typeface="Arial Unicode MS"/>
            </a:endParaRPr>
          </a:p>
          <a:p>
            <a:pPr marL="297815" marR="327025" indent="-285750">
              <a:spcBef>
                <a:spcPts val="1200"/>
              </a:spcBef>
              <a:buFont typeface="Arial" panose="020B0604020202020204" pitchFamily="34" charset="0"/>
              <a:buChar char="•"/>
              <a:tabLst>
                <a:tab pos="221615" algn="l"/>
                <a:tab pos="222250" algn="l"/>
              </a:tabLst>
            </a:pPr>
            <a:r>
              <a:rPr lang="en-US">
                <a:solidFill>
                  <a:srgbClr val="666666"/>
                </a:solidFill>
              </a:rPr>
              <a:t>CPSs working in CPUs shall receive the CPS training provided by ECA or </a:t>
            </a:r>
            <a:r>
              <a:rPr lang="en-US" err="1">
                <a:solidFill>
                  <a:srgbClr val="666666"/>
                </a:solidFill>
              </a:rPr>
              <a:t>MoCD</a:t>
            </a:r>
            <a:r>
              <a:rPr lang="en-US">
                <a:solidFill>
                  <a:srgbClr val="666666"/>
                </a:solidFill>
              </a:rPr>
              <a:t> and the Judicial Officer training from Abu Dhabi Judicial Department or Ministry of Justice.</a:t>
            </a:r>
          </a:p>
        </p:txBody>
      </p:sp>
      <p:sp>
        <p:nvSpPr>
          <p:cNvPr id="16" name="object 2">
            <a:extLst>
              <a:ext uri="{FF2B5EF4-FFF2-40B4-BE49-F238E27FC236}">
                <a16:creationId xmlns:a16="http://schemas.microsoft.com/office/drawing/2014/main" id="{BC962FED-A44A-F3A4-3E67-D308EB264528}"/>
              </a:ext>
            </a:extLst>
          </p:cNvPr>
          <p:cNvSpPr txBox="1">
            <a:spLocks/>
          </p:cNvSpPr>
          <p:nvPr/>
        </p:nvSpPr>
        <p:spPr>
          <a:xfrm>
            <a:off x="665354" y="681026"/>
            <a:ext cx="12801600" cy="512063"/>
          </a:xfrm>
          <a:prstGeom prst="rect">
            <a:avLst/>
          </a:prstGeom>
        </p:spPr>
        <p:txBody>
          <a:bodyPr vert="horz" wrap="square" lIns="0" tIns="1333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spcBef>
                <a:spcPts val="114"/>
              </a:spcBef>
            </a:pPr>
            <a:r>
              <a:rPr lang="en-US" sz="3600" b="1">
                <a:solidFill>
                  <a:schemeClr val="accent3"/>
                </a:solidFill>
                <a:latin typeface="Tahoma"/>
                <a:cs typeface="Tahoma"/>
              </a:rPr>
              <a:t>PROVISIONS</a:t>
            </a:r>
          </a:p>
        </p:txBody>
      </p:sp>
      <p:pic>
        <p:nvPicPr>
          <p:cNvPr id="18" name="Graphic 17">
            <a:extLst>
              <a:ext uri="{FF2B5EF4-FFF2-40B4-BE49-F238E27FC236}">
                <a16:creationId xmlns:a16="http://schemas.microsoft.com/office/drawing/2014/main" id="{4F302399-2A3C-BC50-EC94-A4D86A714B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8809267" y="316422"/>
            <a:ext cx="896052" cy="896052"/>
          </a:xfrm>
          <a:prstGeom prst="rect">
            <a:avLst/>
          </a:prstGeom>
        </p:spPr>
      </p:pic>
      <p:pic>
        <p:nvPicPr>
          <p:cNvPr id="19" name="Graphic 18">
            <a:extLst>
              <a:ext uri="{FF2B5EF4-FFF2-40B4-BE49-F238E27FC236}">
                <a16:creationId xmlns:a16="http://schemas.microsoft.com/office/drawing/2014/main" id="{7EC7E84B-53AA-98F2-32B0-13230EC98B5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9320511" y="10109841"/>
            <a:ext cx="513077" cy="513077"/>
          </a:xfrm>
          <a:prstGeom prst="rect">
            <a:avLst/>
          </a:prstGeom>
        </p:spPr>
      </p:pic>
      <p:pic>
        <p:nvPicPr>
          <p:cNvPr id="20" name="Graphic 19">
            <a:extLst>
              <a:ext uri="{FF2B5EF4-FFF2-40B4-BE49-F238E27FC236}">
                <a16:creationId xmlns:a16="http://schemas.microsoft.com/office/drawing/2014/main" id="{7F463CFB-1BC8-DD98-5668-83070007594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2570" y="6569075"/>
            <a:ext cx="485139" cy="485139"/>
          </a:xfrm>
          <a:prstGeom prst="rect">
            <a:avLst/>
          </a:prstGeom>
        </p:spPr>
      </p:pic>
      <p:pic>
        <p:nvPicPr>
          <p:cNvPr id="21" name="Graphic 20">
            <a:extLst>
              <a:ext uri="{FF2B5EF4-FFF2-40B4-BE49-F238E27FC236}">
                <a16:creationId xmlns:a16="http://schemas.microsoft.com/office/drawing/2014/main" id="{A7891657-2BC1-AA82-F921-D1C2733DB85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42625" y="5399834"/>
            <a:ext cx="810291" cy="810291"/>
          </a:xfrm>
          <a:prstGeom prst="rect">
            <a:avLst/>
          </a:prstGeom>
        </p:spPr>
      </p:pic>
      <p:pic>
        <p:nvPicPr>
          <p:cNvPr id="22" name="Graphic 21">
            <a:extLst>
              <a:ext uri="{FF2B5EF4-FFF2-40B4-BE49-F238E27FC236}">
                <a16:creationId xmlns:a16="http://schemas.microsoft.com/office/drawing/2014/main" id="{200B045D-E92C-31B1-D7F2-05E8295977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99250" y="-619087"/>
            <a:ext cx="1238174" cy="1238174"/>
          </a:xfrm>
          <a:prstGeom prst="rect">
            <a:avLst/>
          </a:prstGeom>
        </p:spPr>
      </p:pic>
      <p:pic>
        <p:nvPicPr>
          <p:cNvPr id="5" name="Picture 4">
            <a:extLst>
              <a:ext uri="{FF2B5EF4-FFF2-40B4-BE49-F238E27FC236}">
                <a16:creationId xmlns:a16="http://schemas.microsoft.com/office/drawing/2014/main" id="{6EE4029E-184F-637D-8391-5708EBE7D83F}"/>
              </a:ext>
            </a:extLst>
          </p:cNvPr>
          <p:cNvPicPr>
            <a:picLocks noChangeAspect="1"/>
          </p:cNvPicPr>
          <p:nvPr/>
        </p:nvPicPr>
        <p:blipFill>
          <a:blip r:embed="rId9"/>
          <a:stretch>
            <a:fillRect/>
          </a:stretch>
        </p:blipFill>
        <p:spPr>
          <a:xfrm>
            <a:off x="679448" y="2880411"/>
            <a:ext cx="7924800" cy="3502399"/>
          </a:xfrm>
          <a:prstGeom prst="rect">
            <a:avLst/>
          </a:prstGeom>
        </p:spPr>
      </p:pic>
    </p:spTree>
    <p:extLst>
      <p:ext uri="{BB962C8B-B14F-4D97-AF65-F5344CB8AC3E}">
        <p14:creationId xmlns:p14="http://schemas.microsoft.com/office/powerpoint/2010/main" val="28053243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4" name="object 22">
            <a:extLst>
              <a:ext uri="{FF2B5EF4-FFF2-40B4-BE49-F238E27FC236}">
                <a16:creationId xmlns:a16="http://schemas.microsoft.com/office/drawing/2014/main" id="{61D12B8B-9A6D-62D0-C9AF-96CAE2FC62A8}"/>
              </a:ext>
            </a:extLst>
          </p:cNvPr>
          <p:cNvSpPr txBox="1"/>
          <p:nvPr/>
        </p:nvSpPr>
        <p:spPr>
          <a:xfrm>
            <a:off x="679450" y="1640969"/>
            <a:ext cx="18973800" cy="9042906"/>
          </a:xfrm>
          <a:prstGeom prst="rect">
            <a:avLst/>
          </a:prstGeom>
          <a:noFill/>
        </p:spPr>
        <p:txBody>
          <a:bodyPr vert="horz" wrap="none" lIns="0" tIns="12065" rIns="0" bIns="0" numCol="2" spcCol="360000" rtlCol="0">
            <a:noAutofit/>
          </a:bodyPr>
          <a:lstStyle/>
          <a:p>
            <a:pPr marL="370205" marR="5080" indent="-358140">
              <a:lnSpc>
                <a:spcPct val="100800"/>
              </a:lnSpc>
              <a:spcBef>
                <a:spcPts val="95"/>
              </a:spcBef>
              <a:tabLst>
                <a:tab pos="370205" algn="l"/>
              </a:tabLst>
            </a:pPr>
            <a:r>
              <a:rPr lang="en-US" sz="2000" b="1">
                <a:solidFill>
                  <a:srgbClr val="666666"/>
                </a:solidFill>
                <a:latin typeface="Tahoma"/>
                <a:cs typeface="Tahoma"/>
              </a:rPr>
              <a:t>5.	Evaluating, Hiring and Monitoring of Educational Institution Staff and Volunteers:</a:t>
            </a:r>
          </a:p>
          <a:p>
            <a:pPr marL="297815" marR="171450" indent="-285750">
              <a:spcBef>
                <a:spcPts val="1200"/>
              </a:spcBef>
              <a:buFont typeface="Arial" panose="020B0604020202020204" pitchFamily="34" charset="0"/>
              <a:buChar char="•"/>
              <a:tabLst>
                <a:tab pos="221615" algn="l"/>
                <a:tab pos="222250" algn="l"/>
              </a:tabLst>
            </a:pPr>
            <a:r>
              <a:rPr lang="en-US" sz="2000">
                <a:solidFill>
                  <a:srgbClr val="666666"/>
                </a:solidFill>
                <a:latin typeface="Arial Unicode MS"/>
                <a:cs typeface="Arial Unicode MS"/>
              </a:rPr>
              <a:t>Staff, volunteers and invited visitors shall be properly vetted and screened prior to working in or accessing any locations where students are present. This includes criminal record checks from countries from which the applicant is being hired.</a:t>
            </a:r>
            <a:endParaRPr lang="en-US" sz="2000">
              <a:latin typeface="Arial Unicode MS"/>
              <a:cs typeface="Arial Unicode MS"/>
            </a:endParaRPr>
          </a:p>
          <a:p>
            <a:pPr marL="297815" marR="5080" indent="-285750">
              <a:spcBef>
                <a:spcPts val="1200"/>
              </a:spcBef>
              <a:buFont typeface="Arial" panose="020B0604020202020204" pitchFamily="34" charset="0"/>
              <a:buChar char="•"/>
              <a:tabLst>
                <a:tab pos="221615" algn="l"/>
                <a:tab pos="222250" algn="l"/>
              </a:tabLst>
            </a:pPr>
            <a:r>
              <a:rPr lang="en-US" sz="2000">
                <a:solidFill>
                  <a:srgbClr val="666666"/>
                </a:solidFill>
                <a:latin typeface="Arial Unicode MS"/>
                <a:cs typeface="Arial Unicode MS"/>
              </a:rPr>
              <a:t>The principal must take full responsibility for all persons working in the educational institution and ensure their suitability and compliance with all student protection and safeguarding requirements. This includes preventing any person from working with students if they pose a risk to students’ safety and wellbeing.</a:t>
            </a:r>
            <a:endParaRPr lang="en-US" sz="2000">
              <a:latin typeface="Arial Unicode MS"/>
              <a:cs typeface="Arial Unicode MS"/>
            </a:endParaRPr>
          </a:p>
          <a:p>
            <a:pPr marL="297815" marR="5080" indent="-285750">
              <a:spcBef>
                <a:spcPts val="1200"/>
              </a:spcBef>
              <a:buFont typeface="Arial" panose="020B0604020202020204" pitchFamily="34" charset="0"/>
              <a:buChar char="•"/>
              <a:tabLst>
                <a:tab pos="221615" algn="l"/>
                <a:tab pos="222250" algn="l"/>
              </a:tabLst>
            </a:pPr>
            <a:r>
              <a:rPr lang="en-US" sz="2000">
                <a:solidFill>
                  <a:srgbClr val="666666"/>
                </a:solidFill>
              </a:rPr>
              <a:t>The Principal must ensure that all employment contracts include a clause permitting the suspension, relocation, or immediate termination of an employee in cases of suspected or investigated student maltreatment, in accordance with enforced legislations.</a:t>
            </a:r>
          </a:p>
          <a:p>
            <a:pPr marL="297815" marR="5080" indent="-285750">
              <a:spcBef>
                <a:spcPts val="1200"/>
              </a:spcBef>
              <a:buFont typeface="Arial" panose="020B0604020202020204" pitchFamily="34" charset="0"/>
              <a:buChar char="•"/>
              <a:tabLst>
                <a:tab pos="221615" algn="l"/>
                <a:tab pos="222250" algn="l"/>
              </a:tabLst>
            </a:pPr>
            <a:r>
              <a:rPr lang="en-US" sz="2000">
                <a:solidFill>
                  <a:srgbClr val="666666"/>
                </a:solidFill>
              </a:rPr>
              <a:t>The Principal must ensure continuous monitoring of all staff and immediately report inappropriate conduct or any acts violating the law to the Child Protection Unit of the educational institution in which he/she belongs.</a:t>
            </a:r>
          </a:p>
          <a:p>
            <a:pPr marL="12065" marR="97155">
              <a:spcBef>
                <a:spcPts val="1200"/>
              </a:spcBef>
              <a:tabLst>
                <a:tab pos="221615" algn="l"/>
                <a:tab pos="222250" algn="l"/>
              </a:tabLst>
            </a:pPr>
            <a:r>
              <a:rPr lang="en-US" sz="2000" b="1">
                <a:solidFill>
                  <a:srgbClr val="666666"/>
                </a:solidFill>
                <a:latin typeface="Tahoma"/>
                <a:cs typeface="Tahoma"/>
              </a:rPr>
              <a:t>6. Acceptable Adult Behaviors:</a:t>
            </a:r>
            <a:endParaRPr lang="en-US" sz="2000">
              <a:solidFill>
                <a:srgbClr val="666666"/>
              </a:solidFill>
              <a:latin typeface="Arial Unicode MS"/>
              <a:cs typeface="Arial Unicode MS"/>
            </a:endParaRPr>
          </a:p>
          <a:p>
            <a:pPr marL="284163" marR="721995" indent="-266700">
              <a:spcBef>
                <a:spcPts val="1200"/>
              </a:spcBef>
              <a:buFont typeface="Arial" panose="020B0604020202020204" pitchFamily="34" charset="0"/>
              <a:buChar char="•"/>
              <a:tabLst>
                <a:tab pos="508000" algn="l"/>
                <a:tab pos="566738" algn="l"/>
              </a:tabLst>
            </a:pPr>
            <a:r>
              <a:rPr lang="en-US" sz="2000">
                <a:solidFill>
                  <a:srgbClr val="666666"/>
                </a:solidFill>
              </a:rPr>
              <a:t>Staff, volunteers, and invited visitors must protect the rights of all students and avoid any actions that could threaten the students’ physical, psychological, moral, or mental safety.</a:t>
            </a:r>
          </a:p>
          <a:p>
            <a:pPr marL="284163" marR="721995" indent="-266700">
              <a:spcBef>
                <a:spcPts val="1200"/>
              </a:spcBef>
              <a:buFont typeface="Arial" panose="020B0604020202020204" pitchFamily="34" charset="0"/>
              <a:buChar char="•"/>
              <a:tabLst>
                <a:tab pos="508000" algn="l"/>
                <a:tab pos="566738" algn="l"/>
              </a:tabLst>
            </a:pPr>
            <a:r>
              <a:rPr lang="en-US" sz="2000">
                <a:solidFill>
                  <a:srgbClr val="666666"/>
                </a:solidFill>
                <a:latin typeface="Arial Unicode MS"/>
                <a:cs typeface="Arial Unicode MS"/>
              </a:rPr>
              <a:t>Staff and volunteers and invited visitors shall not undertake any inappropriate behaviors towards students and/or in the presence of students.</a:t>
            </a:r>
          </a:p>
          <a:p>
            <a:pPr marL="284163" marR="428625" indent="-266700">
              <a:spcBef>
                <a:spcPts val="1200"/>
              </a:spcBef>
              <a:buFont typeface="Arial" panose="020B0604020202020204" pitchFamily="34" charset="0"/>
              <a:buChar char="•"/>
              <a:tabLst>
                <a:tab pos="508000" algn="l"/>
                <a:tab pos="566738" algn="l"/>
              </a:tabLst>
            </a:pPr>
            <a:r>
              <a:rPr lang="en-US" sz="2000">
                <a:solidFill>
                  <a:srgbClr val="666666"/>
                </a:solidFill>
                <a:latin typeface="Arial Unicode MS"/>
                <a:cs typeface="Arial Unicode MS"/>
              </a:rPr>
              <a:t>Staff and volunteers and visitors are required to report any incidents of inappropriate behaviors against students.</a:t>
            </a:r>
          </a:p>
          <a:p>
            <a:pPr marL="284163" marR="5080" indent="-266700">
              <a:spcBef>
                <a:spcPts val="1200"/>
              </a:spcBef>
              <a:buFont typeface="Arial" panose="020B0604020202020204" pitchFamily="34" charset="0"/>
              <a:buChar char="•"/>
              <a:tabLst>
                <a:tab pos="508000" algn="l"/>
                <a:tab pos="566738" algn="l"/>
              </a:tabLst>
            </a:pPr>
            <a:r>
              <a:rPr lang="en-US" sz="2000">
                <a:solidFill>
                  <a:srgbClr val="666666"/>
                </a:solidFill>
              </a:rPr>
              <a:t>Any allegations of inappropriate sexual behavior by staff, volunteers, or invited visitors must be reported immediately to Abu Dhabi Police and the FCA. The involved staff member, volunteer, or visitor will then be immediately removed from the premises of the </a:t>
            </a:r>
            <a:r>
              <a:rPr lang="en-US" sz="2000">
                <a:solidFill>
                  <a:srgbClr val="666666"/>
                </a:solidFill>
                <a:latin typeface="Arial Unicode MS"/>
                <a:cs typeface="Arial Unicode MS"/>
              </a:rPr>
              <a:t>educational institution</a:t>
            </a:r>
          </a:p>
          <a:p>
            <a:pPr marL="17463" marR="5080">
              <a:spcBef>
                <a:spcPts val="1200"/>
              </a:spcBef>
              <a:tabLst>
                <a:tab pos="508000" algn="l"/>
                <a:tab pos="566738" algn="l"/>
              </a:tabLst>
            </a:pPr>
            <a:r>
              <a:rPr lang="en-US" sz="2000" b="1">
                <a:solidFill>
                  <a:srgbClr val="666666"/>
                </a:solidFill>
                <a:latin typeface="Tahoma"/>
                <a:cs typeface="Tahoma"/>
              </a:rPr>
              <a:t>7. Student Protection Learning Resources:</a:t>
            </a:r>
            <a:endParaRPr lang="en-US" sz="2000">
              <a:latin typeface="Tahoma"/>
              <a:cs typeface="Tahoma"/>
            </a:endParaRPr>
          </a:p>
          <a:p>
            <a:pPr marL="284163" marR="5080" indent="-284163">
              <a:spcBef>
                <a:spcPts val="1200"/>
              </a:spcBef>
              <a:buFont typeface="Arial" panose="020B0604020202020204" pitchFamily="34" charset="0"/>
              <a:buChar char="•"/>
              <a:tabLst>
                <a:tab pos="265113" algn="l"/>
              </a:tabLst>
            </a:pPr>
            <a:r>
              <a:rPr lang="en-US" sz="2000">
                <a:solidFill>
                  <a:srgbClr val="666666"/>
                </a:solidFill>
                <a:latin typeface="Arial Unicode MS"/>
                <a:cs typeface="Arial Unicode MS"/>
              </a:rPr>
              <a:t>Age-appropriate student protection learning resources shall be developed and distributed to students to support their knowledge and ability to understand personal safety and wellbeing and what actions they can take to report any violations and seek help.</a:t>
            </a:r>
            <a:endParaRPr lang="en-US" sz="2000">
              <a:latin typeface="Arial Unicode MS"/>
              <a:cs typeface="Arial Unicode MS"/>
            </a:endParaRPr>
          </a:p>
          <a:p>
            <a:pPr marL="284163" marR="45085" indent="-284163">
              <a:spcBef>
                <a:spcPts val="1200"/>
              </a:spcBef>
              <a:buFont typeface="Arial" panose="020B0604020202020204" pitchFamily="34" charset="0"/>
              <a:buChar char="•"/>
              <a:tabLst>
                <a:tab pos="265113" algn="l"/>
              </a:tabLst>
            </a:pPr>
            <a:r>
              <a:rPr lang="en-US" sz="2000">
                <a:solidFill>
                  <a:srgbClr val="666666"/>
                </a:solidFill>
                <a:latin typeface="Arial Unicode MS"/>
                <a:cs typeface="Arial Unicode MS"/>
              </a:rPr>
              <a:t>Age-appropriate student protection learning resources shall</a:t>
            </a:r>
            <a:r>
              <a:rPr lang="en-US" sz="2000">
                <a:solidFill>
                  <a:srgbClr val="666666"/>
                </a:solidFill>
              </a:rPr>
              <a:t> be available </a:t>
            </a:r>
            <a:r>
              <a:rPr lang="en-US" sz="2000">
                <a:solidFill>
                  <a:srgbClr val="666666"/>
                </a:solidFill>
                <a:latin typeface="Arial Unicode MS"/>
                <a:cs typeface="Arial Unicode MS"/>
              </a:rPr>
              <a:t>in the classroom and in counseling sessions and include story books, activity books, illustrations, posters, reading content, etc., that can be discussed either individually or within a group setting.</a:t>
            </a:r>
            <a:endParaRPr lang="en-US" sz="2000">
              <a:latin typeface="Arial Unicode MS"/>
              <a:cs typeface="Arial Unicode MS"/>
            </a:endParaRPr>
          </a:p>
          <a:p>
            <a:pPr marL="284163" marR="111125" indent="-284163">
              <a:spcBef>
                <a:spcPts val="1200"/>
              </a:spcBef>
              <a:buFont typeface="Arial" panose="020B0604020202020204" pitchFamily="34" charset="0"/>
              <a:buChar char="•"/>
              <a:tabLst>
                <a:tab pos="265113" algn="l"/>
              </a:tabLst>
            </a:pPr>
            <a:r>
              <a:rPr lang="en-US" sz="2000">
                <a:solidFill>
                  <a:srgbClr val="666666"/>
                </a:solidFill>
              </a:rPr>
              <a:t>Child protection culture must be promoted among students by trained and qualified staff in the field of student protection and development.</a:t>
            </a:r>
          </a:p>
          <a:p>
            <a:pPr marL="297815" marR="5080" indent="-285750">
              <a:spcBef>
                <a:spcPts val="1200"/>
              </a:spcBef>
              <a:buFont typeface="Arial" panose="020B0604020202020204" pitchFamily="34" charset="0"/>
              <a:buChar char="•"/>
              <a:tabLst>
                <a:tab pos="221615" algn="l"/>
                <a:tab pos="222250" algn="l"/>
              </a:tabLst>
            </a:pPr>
            <a:r>
              <a:rPr lang="en-US" sz="2000">
                <a:solidFill>
                  <a:srgbClr val="666666"/>
                </a:solidFill>
                <a:latin typeface="Arial Unicode MS"/>
                <a:cs typeface="Arial Unicode MS"/>
              </a:rPr>
              <a:t>All content shall identify easy-to-use referenc</a:t>
            </a:r>
            <a:r>
              <a:rPr lang="en-US" sz="2000">
                <a:solidFill>
                  <a:srgbClr val="666666"/>
                </a:solidFill>
              </a:rPr>
              <a:t>es on how to seek assistance when needed.</a:t>
            </a:r>
          </a:p>
          <a:p>
            <a:pPr marL="12065">
              <a:spcBef>
                <a:spcPts val="1200"/>
              </a:spcBef>
              <a:tabLst>
                <a:tab pos="370205" algn="l"/>
                <a:tab pos="370840" algn="l"/>
              </a:tabLst>
            </a:pPr>
            <a:r>
              <a:rPr lang="en-US" sz="2000" b="1">
                <a:solidFill>
                  <a:srgbClr val="666666"/>
                </a:solidFill>
                <a:latin typeface="Tahoma"/>
                <a:cs typeface="Tahoma"/>
              </a:rPr>
              <a:t>8. Non-Compliance:</a:t>
            </a:r>
            <a:endParaRPr lang="en-US" sz="2000">
              <a:latin typeface="Tahoma"/>
              <a:cs typeface="Tahoma"/>
            </a:endParaRPr>
          </a:p>
          <a:p>
            <a:pPr marL="284163" marR="349250" indent="-284163">
              <a:spcBef>
                <a:spcPts val="1200"/>
              </a:spcBef>
              <a:buFont typeface="Arial" panose="020B0604020202020204" pitchFamily="34" charset="0"/>
              <a:buChar char="•"/>
              <a:tabLst>
                <a:tab pos="265113" algn="l"/>
              </a:tabLst>
            </a:pPr>
            <a:r>
              <a:rPr lang="en-US" sz="2000">
                <a:solidFill>
                  <a:srgbClr val="666666"/>
                </a:solidFill>
                <a:latin typeface="Arial Unicode MS"/>
                <a:cs typeface="Arial Unicode MS"/>
              </a:rPr>
              <a:t>Failure to comply with this policy is subject to legal accountability and administrative penalties stipulated in accordance with the UAE Federal Law No. 3 of 2016 on Children’s Rights, Federal Law No. 3 of 1987 on the Penal Code and any other local or federal relevant laws effective at the time of non-compliance</a:t>
            </a:r>
            <a:endParaRPr lang="en-US" sz="2000">
              <a:latin typeface="Arial Unicode MS"/>
              <a:cs typeface="Arial Unicode MS"/>
            </a:endParaRPr>
          </a:p>
          <a:p>
            <a:pPr marR="349250">
              <a:spcBef>
                <a:spcPts val="1200"/>
              </a:spcBef>
              <a:tabLst>
                <a:tab pos="265113" algn="l"/>
              </a:tabLst>
            </a:pPr>
            <a:endParaRPr lang="en-US" sz="2000">
              <a:latin typeface="Arial Unicode MS"/>
              <a:cs typeface="Arial Unicode MS"/>
            </a:endParaRPr>
          </a:p>
        </p:txBody>
      </p:sp>
      <p:sp>
        <p:nvSpPr>
          <p:cNvPr id="5" name="object 2">
            <a:extLst>
              <a:ext uri="{FF2B5EF4-FFF2-40B4-BE49-F238E27FC236}">
                <a16:creationId xmlns:a16="http://schemas.microsoft.com/office/drawing/2014/main" id="{CBF9DCA5-6D59-1E3F-5154-FA4B500023AD}"/>
              </a:ext>
            </a:extLst>
          </p:cNvPr>
          <p:cNvSpPr txBox="1">
            <a:spLocks/>
          </p:cNvSpPr>
          <p:nvPr/>
        </p:nvSpPr>
        <p:spPr>
          <a:xfrm>
            <a:off x="679450" y="681026"/>
            <a:ext cx="12801600" cy="512063"/>
          </a:xfrm>
          <a:prstGeom prst="rect">
            <a:avLst/>
          </a:prstGeom>
        </p:spPr>
        <p:txBody>
          <a:bodyPr vert="horz" wrap="square" lIns="0" tIns="1333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spcBef>
                <a:spcPts val="114"/>
              </a:spcBef>
            </a:pPr>
            <a:r>
              <a:rPr lang="en-US" sz="3600" b="1">
                <a:solidFill>
                  <a:schemeClr val="accent3"/>
                </a:solidFill>
                <a:latin typeface="Tahoma"/>
                <a:cs typeface="Tahoma"/>
              </a:rPr>
              <a:t>PROVISIONS</a:t>
            </a:r>
          </a:p>
        </p:txBody>
      </p:sp>
      <p:pic>
        <p:nvPicPr>
          <p:cNvPr id="3" name="Graphic 2">
            <a:extLst>
              <a:ext uri="{FF2B5EF4-FFF2-40B4-BE49-F238E27FC236}">
                <a16:creationId xmlns:a16="http://schemas.microsoft.com/office/drawing/2014/main" id="{502F2E28-AF5B-42B4-EF3B-EDDDDA5801A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454871" y="572453"/>
            <a:ext cx="512063" cy="512063"/>
          </a:xfrm>
          <a:prstGeom prst="rect">
            <a:avLst/>
          </a:prstGeom>
        </p:spPr>
      </p:pic>
      <p:pic>
        <p:nvPicPr>
          <p:cNvPr id="6" name="Graphic 5">
            <a:extLst>
              <a:ext uri="{FF2B5EF4-FFF2-40B4-BE49-F238E27FC236}">
                <a16:creationId xmlns:a16="http://schemas.microsoft.com/office/drawing/2014/main" id="{12F12F7F-5935-6193-1F30-66C148351E7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320511" y="8175760"/>
            <a:ext cx="513077" cy="513077"/>
          </a:xfrm>
          <a:prstGeom prst="rect">
            <a:avLst/>
          </a:prstGeom>
        </p:spPr>
      </p:pic>
      <p:pic>
        <p:nvPicPr>
          <p:cNvPr id="7" name="Graphic 6">
            <a:extLst>
              <a:ext uri="{FF2B5EF4-FFF2-40B4-BE49-F238E27FC236}">
                <a16:creationId xmlns:a16="http://schemas.microsoft.com/office/drawing/2014/main" id="{44F973D9-2425-BC19-7AC8-F939A7A0F0A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2570" y="8931275"/>
            <a:ext cx="485139" cy="485139"/>
          </a:xfrm>
          <a:prstGeom prst="rect">
            <a:avLst/>
          </a:prstGeom>
        </p:spPr>
      </p:pic>
      <p:pic>
        <p:nvPicPr>
          <p:cNvPr id="8" name="Graphic 7">
            <a:extLst>
              <a:ext uri="{FF2B5EF4-FFF2-40B4-BE49-F238E27FC236}">
                <a16:creationId xmlns:a16="http://schemas.microsoft.com/office/drawing/2014/main" id="{82EAFA32-4993-2061-0B90-384B030FD8D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73043" y="10715873"/>
            <a:ext cx="457200" cy="457200"/>
          </a:xfrm>
          <a:prstGeom prst="rect">
            <a:avLst/>
          </a:prstGeom>
        </p:spPr>
      </p:pic>
      <p:pic>
        <p:nvPicPr>
          <p:cNvPr id="9" name="Graphic 8">
            <a:extLst>
              <a:ext uri="{FF2B5EF4-FFF2-40B4-BE49-F238E27FC236}">
                <a16:creationId xmlns:a16="http://schemas.microsoft.com/office/drawing/2014/main" id="{72D8402C-3509-5AC8-570A-8FE4028D505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709650" y="-619087"/>
            <a:ext cx="1238174" cy="1238174"/>
          </a:xfrm>
          <a:prstGeom prst="rect">
            <a:avLst/>
          </a:prstGeom>
        </p:spPr>
      </p:pic>
    </p:spTree>
    <p:extLst>
      <p:ext uri="{BB962C8B-B14F-4D97-AF65-F5344CB8AC3E}">
        <p14:creationId xmlns:p14="http://schemas.microsoft.com/office/powerpoint/2010/main" val="23074444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4" name="object 22">
            <a:extLst>
              <a:ext uri="{FF2B5EF4-FFF2-40B4-BE49-F238E27FC236}">
                <a16:creationId xmlns:a16="http://schemas.microsoft.com/office/drawing/2014/main" id="{61D12B8B-9A6D-62D0-C9AF-96CAE2FC62A8}"/>
              </a:ext>
            </a:extLst>
          </p:cNvPr>
          <p:cNvSpPr txBox="1"/>
          <p:nvPr/>
        </p:nvSpPr>
        <p:spPr>
          <a:xfrm>
            <a:off x="679450" y="1640967"/>
            <a:ext cx="9829800" cy="3674147"/>
          </a:xfrm>
          <a:prstGeom prst="rect">
            <a:avLst/>
          </a:prstGeom>
          <a:noFill/>
        </p:spPr>
        <p:txBody>
          <a:bodyPr vert="horz" wrap="square" lIns="0" tIns="12065" rIns="0" bIns="0" numCol="1" spcCol="360000" rtlCol="0">
            <a:spAutoFit/>
          </a:bodyPr>
          <a:lstStyle/>
          <a:p>
            <a:pPr marL="370205" marR="5080" indent="-358140" algn="l">
              <a:lnSpc>
                <a:spcPts val="2800"/>
              </a:lnSpc>
              <a:spcBef>
                <a:spcPts val="95"/>
              </a:spcBef>
              <a:tabLst>
                <a:tab pos="370205" algn="l"/>
              </a:tabLst>
            </a:pPr>
            <a:r>
              <a:rPr lang="en-US" sz="2000" b="1">
                <a:solidFill>
                  <a:srgbClr val="666666"/>
                </a:solidFill>
                <a:latin typeface="Tahoma"/>
                <a:cs typeface="Tahoma"/>
              </a:rPr>
              <a:t>9.	Policy Dissemination and Review</a:t>
            </a:r>
          </a:p>
          <a:p>
            <a:pPr marL="297815" marR="60960" indent="-285750" algn="l">
              <a:lnSpc>
                <a:spcPts val="2800"/>
              </a:lnSpc>
              <a:spcBef>
                <a:spcPts val="1200"/>
              </a:spcBef>
              <a:buFont typeface="Arial" panose="020B0604020202020204" pitchFamily="34" charset="0"/>
              <a:buChar char="•"/>
              <a:tabLst>
                <a:tab pos="221615" algn="l"/>
                <a:tab pos="222250" algn="l"/>
              </a:tabLst>
            </a:pPr>
            <a:r>
              <a:rPr lang="en-US" sz="2000">
                <a:solidFill>
                  <a:srgbClr val="666666"/>
                </a:solidFill>
                <a:latin typeface="Arial Unicode MS"/>
                <a:cs typeface="Arial Unicode MS"/>
              </a:rPr>
              <a:t>The student protection policy shall be available publicly and on the educational institution’s website and distributed annually, (together with a student-friendly version), annually to parents, institution board members, staff and volunteers.</a:t>
            </a:r>
            <a:endParaRPr lang="en-US" sz="2000">
              <a:latin typeface="Arial Unicode MS"/>
              <a:cs typeface="Arial Unicode MS"/>
            </a:endParaRPr>
          </a:p>
          <a:p>
            <a:pPr marL="297815" marR="296545" indent="-285750" algn="l">
              <a:lnSpc>
                <a:spcPts val="2800"/>
              </a:lnSpc>
              <a:spcBef>
                <a:spcPts val="1200"/>
              </a:spcBef>
              <a:buFont typeface="Arial" panose="020B0604020202020204" pitchFamily="34" charset="0"/>
              <a:buChar char="•"/>
              <a:tabLst>
                <a:tab pos="221615" algn="l"/>
                <a:tab pos="222250" algn="l"/>
              </a:tabLst>
            </a:pPr>
            <a:r>
              <a:rPr lang="en-US" sz="2000">
                <a:solidFill>
                  <a:srgbClr val="666666"/>
                </a:solidFill>
                <a:latin typeface="Arial Unicode MS"/>
                <a:cs typeface="Arial Unicode MS"/>
              </a:rPr>
              <a:t>All student protection policies, guidelines, safeguarding measures and procedures should be regularly reviewed and updated at least every 5 years or as required.</a:t>
            </a:r>
          </a:p>
          <a:p>
            <a:pPr marL="297815" marR="296545" indent="-285750" algn="l">
              <a:lnSpc>
                <a:spcPts val="2800"/>
              </a:lnSpc>
              <a:spcBef>
                <a:spcPts val="1200"/>
              </a:spcBef>
              <a:buFont typeface="Arial" panose="020B0604020202020204" pitchFamily="34" charset="0"/>
              <a:buChar char="•"/>
              <a:tabLst>
                <a:tab pos="221615" algn="l"/>
                <a:tab pos="222250" algn="l"/>
              </a:tabLst>
            </a:pPr>
            <a:r>
              <a:rPr lang="en-US" sz="2000">
                <a:solidFill>
                  <a:srgbClr val="666666"/>
                </a:solidFill>
              </a:rPr>
              <a:t>The Dama Al-Aman in Schools and Nurseries Guide on Handling Maltreatment Concerns in the educational institutions should be available to all staff and should be reviewed regularly and updated at least every 5 years.</a:t>
            </a:r>
          </a:p>
        </p:txBody>
      </p:sp>
      <p:sp>
        <p:nvSpPr>
          <p:cNvPr id="5" name="object 2">
            <a:extLst>
              <a:ext uri="{FF2B5EF4-FFF2-40B4-BE49-F238E27FC236}">
                <a16:creationId xmlns:a16="http://schemas.microsoft.com/office/drawing/2014/main" id="{CBF9DCA5-6D59-1E3F-5154-FA4B500023AD}"/>
              </a:ext>
            </a:extLst>
          </p:cNvPr>
          <p:cNvSpPr txBox="1">
            <a:spLocks/>
          </p:cNvSpPr>
          <p:nvPr/>
        </p:nvSpPr>
        <p:spPr>
          <a:xfrm>
            <a:off x="679450" y="681026"/>
            <a:ext cx="12801600" cy="512063"/>
          </a:xfrm>
          <a:prstGeom prst="rect">
            <a:avLst/>
          </a:prstGeom>
        </p:spPr>
        <p:txBody>
          <a:bodyPr vert="horz" wrap="square" lIns="0" tIns="1333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spcBef>
                <a:spcPts val="114"/>
              </a:spcBef>
            </a:pPr>
            <a:r>
              <a:rPr lang="en-US" sz="3600" b="1">
                <a:solidFill>
                  <a:schemeClr val="accent3"/>
                </a:solidFill>
                <a:latin typeface="Tahoma"/>
                <a:cs typeface="Tahoma"/>
              </a:rPr>
              <a:t>PROVISIONS</a:t>
            </a:r>
          </a:p>
        </p:txBody>
      </p:sp>
      <p:grpSp>
        <p:nvGrpSpPr>
          <p:cNvPr id="7" name="Graphic 5">
            <a:extLst>
              <a:ext uri="{FF2B5EF4-FFF2-40B4-BE49-F238E27FC236}">
                <a16:creationId xmlns:a16="http://schemas.microsoft.com/office/drawing/2014/main" id="{02C14EB6-2244-61BA-FAA9-B10C033A07C4}"/>
              </a:ext>
            </a:extLst>
          </p:cNvPr>
          <p:cNvGrpSpPr/>
          <p:nvPr/>
        </p:nvGrpSpPr>
        <p:grpSpPr>
          <a:xfrm flipH="1">
            <a:off x="15386050" y="636153"/>
            <a:ext cx="2936138" cy="10625202"/>
            <a:chOff x="15386050" y="636153"/>
            <a:chExt cx="2936138" cy="10625202"/>
          </a:xfrm>
        </p:grpSpPr>
        <p:grpSp>
          <p:nvGrpSpPr>
            <p:cNvPr id="8" name="Graphic 5">
              <a:extLst>
                <a:ext uri="{FF2B5EF4-FFF2-40B4-BE49-F238E27FC236}">
                  <a16:creationId xmlns:a16="http://schemas.microsoft.com/office/drawing/2014/main" id="{01B1745F-A197-51C2-9162-4FDEC78B78FF}"/>
                </a:ext>
              </a:extLst>
            </p:cNvPr>
            <p:cNvGrpSpPr/>
            <p:nvPr/>
          </p:nvGrpSpPr>
          <p:grpSpPr>
            <a:xfrm>
              <a:off x="15481147" y="3354739"/>
              <a:ext cx="2200617" cy="2642378"/>
              <a:chOff x="15481147" y="3354739"/>
              <a:chExt cx="2200617" cy="2642378"/>
            </a:xfrm>
          </p:grpSpPr>
          <p:sp>
            <p:nvSpPr>
              <p:cNvPr id="9" name="Freeform 8">
                <a:extLst>
                  <a:ext uri="{FF2B5EF4-FFF2-40B4-BE49-F238E27FC236}">
                    <a16:creationId xmlns:a16="http://schemas.microsoft.com/office/drawing/2014/main" id="{B84A9BC1-B9CA-3E72-52A0-736A9899E4DE}"/>
                  </a:ext>
                </a:extLst>
              </p:cNvPr>
              <p:cNvSpPr/>
              <p:nvPr/>
            </p:nvSpPr>
            <p:spPr>
              <a:xfrm>
                <a:off x="15481147" y="3656641"/>
                <a:ext cx="2200617" cy="2340475"/>
              </a:xfrm>
              <a:custGeom>
                <a:avLst/>
                <a:gdLst>
                  <a:gd name="connsiteX0" fmla="*/ 0 w 2200617"/>
                  <a:gd name="connsiteY0" fmla="*/ 0 h 2340475"/>
                  <a:gd name="connsiteX1" fmla="*/ 2200618 w 2200617"/>
                  <a:gd name="connsiteY1" fmla="*/ 0 h 2340475"/>
                  <a:gd name="connsiteX2" fmla="*/ 2200618 w 2200617"/>
                  <a:gd name="connsiteY2" fmla="*/ 2340476 h 2340475"/>
                  <a:gd name="connsiteX3" fmla="*/ 0 w 2200617"/>
                  <a:gd name="connsiteY3" fmla="*/ 2340476 h 2340475"/>
                </a:gdLst>
                <a:ahLst/>
                <a:cxnLst>
                  <a:cxn ang="0">
                    <a:pos x="connsiteX0" y="connsiteY0"/>
                  </a:cxn>
                  <a:cxn ang="0">
                    <a:pos x="connsiteX1" y="connsiteY1"/>
                  </a:cxn>
                  <a:cxn ang="0">
                    <a:pos x="connsiteX2" y="connsiteY2"/>
                  </a:cxn>
                  <a:cxn ang="0">
                    <a:pos x="connsiteX3" y="connsiteY3"/>
                  </a:cxn>
                </a:cxnLst>
                <a:rect l="l" t="t" r="r" b="b"/>
                <a:pathLst>
                  <a:path w="2200617" h="2340475">
                    <a:moveTo>
                      <a:pt x="0" y="0"/>
                    </a:moveTo>
                    <a:lnTo>
                      <a:pt x="2200618" y="0"/>
                    </a:lnTo>
                    <a:lnTo>
                      <a:pt x="2200618" y="2340476"/>
                    </a:lnTo>
                    <a:lnTo>
                      <a:pt x="0" y="2340476"/>
                    </a:lnTo>
                    <a:close/>
                  </a:path>
                </a:pathLst>
              </a:custGeom>
              <a:solidFill>
                <a:srgbClr val="C85933"/>
              </a:solidFill>
              <a:ln w="148590" cap="flat">
                <a:noFill/>
                <a:prstDash val="solid"/>
                <a:miter/>
              </a:ln>
            </p:spPr>
            <p:txBody>
              <a:bodyPr rtlCol="0" anchor="ctr"/>
              <a:lstStyle/>
              <a:p>
                <a:pPr algn="l" rtl="0"/>
                <a:endParaRPr lang="en-AE"/>
              </a:p>
            </p:txBody>
          </p:sp>
          <p:sp>
            <p:nvSpPr>
              <p:cNvPr id="10" name="Freeform 9">
                <a:extLst>
                  <a:ext uri="{FF2B5EF4-FFF2-40B4-BE49-F238E27FC236}">
                    <a16:creationId xmlns:a16="http://schemas.microsoft.com/office/drawing/2014/main" id="{AEC8E901-B0A8-4D13-A83C-1988050D00B5}"/>
                  </a:ext>
                </a:extLst>
              </p:cNvPr>
              <p:cNvSpPr/>
              <p:nvPr/>
            </p:nvSpPr>
            <p:spPr>
              <a:xfrm>
                <a:off x="16276104" y="3354739"/>
                <a:ext cx="612190" cy="603804"/>
              </a:xfrm>
              <a:custGeom>
                <a:avLst/>
                <a:gdLst>
                  <a:gd name="connsiteX0" fmla="*/ 612191 w 612190"/>
                  <a:gd name="connsiteY0" fmla="*/ 301902 h 603804"/>
                  <a:gd name="connsiteX1" fmla="*/ 306095 w 612190"/>
                  <a:gd name="connsiteY1" fmla="*/ 603805 h 603804"/>
                  <a:gd name="connsiteX2" fmla="*/ 0 w 612190"/>
                  <a:gd name="connsiteY2" fmla="*/ 301902 h 603804"/>
                  <a:gd name="connsiteX3" fmla="*/ 306095 w 612190"/>
                  <a:gd name="connsiteY3" fmla="*/ 0 h 603804"/>
                  <a:gd name="connsiteX4" fmla="*/ 612191 w 612190"/>
                  <a:gd name="connsiteY4" fmla="*/ 301902 h 603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190" h="603804">
                    <a:moveTo>
                      <a:pt x="612191" y="301902"/>
                    </a:moveTo>
                    <a:cubicBezTo>
                      <a:pt x="612191" y="468638"/>
                      <a:pt x="475147" y="603805"/>
                      <a:pt x="306095" y="603805"/>
                    </a:cubicBezTo>
                    <a:cubicBezTo>
                      <a:pt x="137043" y="603805"/>
                      <a:pt x="0" y="468638"/>
                      <a:pt x="0" y="301902"/>
                    </a:cubicBezTo>
                    <a:cubicBezTo>
                      <a:pt x="0" y="135166"/>
                      <a:pt x="137043" y="0"/>
                      <a:pt x="306095" y="0"/>
                    </a:cubicBezTo>
                    <a:cubicBezTo>
                      <a:pt x="475147" y="0"/>
                      <a:pt x="612191" y="135166"/>
                      <a:pt x="612191" y="301902"/>
                    </a:cubicBezTo>
                    <a:close/>
                  </a:path>
                </a:pathLst>
              </a:custGeom>
              <a:solidFill>
                <a:srgbClr val="E9CD62"/>
              </a:solidFill>
              <a:ln w="148590" cap="flat">
                <a:noFill/>
                <a:prstDash val="solid"/>
                <a:miter/>
              </a:ln>
            </p:spPr>
            <p:txBody>
              <a:bodyPr rtlCol="0" anchor="ctr"/>
              <a:lstStyle/>
              <a:p>
                <a:endParaRPr lang="en-AE"/>
              </a:p>
            </p:txBody>
          </p:sp>
          <p:sp>
            <p:nvSpPr>
              <p:cNvPr id="11" name="Freeform 10">
                <a:extLst>
                  <a:ext uri="{FF2B5EF4-FFF2-40B4-BE49-F238E27FC236}">
                    <a16:creationId xmlns:a16="http://schemas.microsoft.com/office/drawing/2014/main" id="{126F049D-DBE4-DFF1-B1B2-C3D1ED2D0EE3}"/>
                  </a:ext>
                </a:extLst>
              </p:cNvPr>
              <p:cNvSpPr/>
              <p:nvPr/>
            </p:nvSpPr>
            <p:spPr>
              <a:xfrm>
                <a:off x="15994767" y="4348036"/>
                <a:ext cx="1186864" cy="989585"/>
              </a:xfrm>
              <a:custGeom>
                <a:avLst/>
                <a:gdLst>
                  <a:gd name="connsiteX0" fmla="*/ 370490 w 1186864"/>
                  <a:gd name="connsiteY0" fmla="*/ 989586 h 989585"/>
                  <a:gd name="connsiteX1" fmla="*/ 48050 w 1186864"/>
                  <a:gd name="connsiteY1" fmla="*/ 527939 h 989585"/>
                  <a:gd name="connsiteX2" fmla="*/ 51022 w 1186864"/>
                  <a:gd name="connsiteY2" fmla="*/ 121983 h 989585"/>
                  <a:gd name="connsiteX3" fmla="*/ 367519 w 1186864"/>
                  <a:gd name="connsiteY3" fmla="*/ 6205 h 989585"/>
                  <a:gd name="connsiteX4" fmla="*/ 599319 w 1186864"/>
                  <a:gd name="connsiteY4" fmla="*/ 214312 h 989585"/>
                  <a:gd name="connsiteX5" fmla="*/ 872725 w 1186864"/>
                  <a:gd name="connsiteY5" fmla="*/ 113189 h 989585"/>
                  <a:gd name="connsiteX6" fmla="*/ 1132757 w 1186864"/>
                  <a:gd name="connsiteY6" fmla="*/ 224571 h 989585"/>
                  <a:gd name="connsiteX7" fmla="*/ 1175848 w 1186864"/>
                  <a:gd name="connsiteY7" fmla="*/ 492766 h 989585"/>
                  <a:gd name="connsiteX8" fmla="*/ 1037659 w 1186864"/>
                  <a:gd name="connsiteY8" fmla="*/ 706735 h 989585"/>
                  <a:gd name="connsiteX9" fmla="*/ 370490 w 1186864"/>
                  <a:gd name="connsiteY9" fmla="*/ 988120 h 98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6864" h="989585">
                    <a:moveTo>
                      <a:pt x="370490" y="989586"/>
                    </a:moveTo>
                    <a:cubicBezTo>
                      <a:pt x="204069" y="847428"/>
                      <a:pt x="117887" y="716994"/>
                      <a:pt x="48050" y="527939"/>
                    </a:cubicBezTo>
                    <a:cubicBezTo>
                      <a:pt x="-985" y="394574"/>
                      <a:pt x="-30703" y="239226"/>
                      <a:pt x="51022" y="121983"/>
                    </a:cubicBezTo>
                    <a:cubicBezTo>
                      <a:pt x="116401" y="26722"/>
                      <a:pt x="250132" y="-17244"/>
                      <a:pt x="367519" y="6205"/>
                    </a:cubicBezTo>
                    <a:cubicBezTo>
                      <a:pt x="484905" y="29653"/>
                      <a:pt x="522052" y="110258"/>
                      <a:pt x="599319" y="214312"/>
                    </a:cubicBezTo>
                    <a:cubicBezTo>
                      <a:pt x="676586" y="155690"/>
                      <a:pt x="774655" y="119051"/>
                      <a:pt x="872725" y="113189"/>
                    </a:cubicBezTo>
                    <a:cubicBezTo>
                      <a:pt x="970794" y="107327"/>
                      <a:pt x="1076293" y="146897"/>
                      <a:pt x="1132757" y="224571"/>
                    </a:cubicBezTo>
                    <a:cubicBezTo>
                      <a:pt x="1184763" y="294917"/>
                      <a:pt x="1199623" y="412161"/>
                      <a:pt x="1175848" y="492766"/>
                    </a:cubicBezTo>
                    <a:cubicBezTo>
                      <a:pt x="1152074" y="573371"/>
                      <a:pt x="1098581" y="645182"/>
                      <a:pt x="1037659" y="706735"/>
                    </a:cubicBezTo>
                    <a:cubicBezTo>
                      <a:pt x="859351" y="886997"/>
                      <a:pt x="571087" y="992516"/>
                      <a:pt x="370490" y="988120"/>
                    </a:cubicBezTo>
                    <a:close/>
                  </a:path>
                </a:pathLst>
              </a:custGeom>
              <a:solidFill>
                <a:srgbClr val="FFFFFF"/>
              </a:solidFill>
              <a:ln w="148590" cap="flat">
                <a:noFill/>
                <a:prstDash val="solid"/>
                <a:miter/>
              </a:ln>
            </p:spPr>
            <p:txBody>
              <a:bodyPr rtlCol="0" anchor="ctr"/>
              <a:lstStyle/>
              <a:p>
                <a:pPr algn="l" rtl="0"/>
                <a:endParaRPr lang="en-AE"/>
              </a:p>
            </p:txBody>
          </p:sp>
        </p:grpSp>
        <p:grpSp>
          <p:nvGrpSpPr>
            <p:cNvPr id="12" name="Graphic 5">
              <a:extLst>
                <a:ext uri="{FF2B5EF4-FFF2-40B4-BE49-F238E27FC236}">
                  <a16:creationId xmlns:a16="http://schemas.microsoft.com/office/drawing/2014/main" id="{C1F15916-7781-F542-50C7-5197B7D9F3DE}"/>
                </a:ext>
              </a:extLst>
            </p:cNvPr>
            <p:cNvGrpSpPr/>
            <p:nvPr/>
          </p:nvGrpSpPr>
          <p:grpSpPr>
            <a:xfrm>
              <a:off x="16121570" y="5695215"/>
              <a:ext cx="2200617" cy="3032213"/>
              <a:chOff x="16121570" y="5695215"/>
              <a:chExt cx="2200617" cy="3032213"/>
            </a:xfrm>
          </p:grpSpPr>
          <p:sp>
            <p:nvSpPr>
              <p:cNvPr id="13" name="Freeform 12">
                <a:extLst>
                  <a:ext uri="{FF2B5EF4-FFF2-40B4-BE49-F238E27FC236}">
                    <a16:creationId xmlns:a16="http://schemas.microsoft.com/office/drawing/2014/main" id="{354C933A-9ED2-1024-BDDC-B1D5C612FD5E}"/>
                  </a:ext>
                </a:extLst>
              </p:cNvPr>
              <p:cNvSpPr/>
              <p:nvPr/>
            </p:nvSpPr>
            <p:spPr>
              <a:xfrm>
                <a:off x="16121570" y="5997117"/>
                <a:ext cx="2200617" cy="2730310"/>
              </a:xfrm>
              <a:custGeom>
                <a:avLst/>
                <a:gdLst>
                  <a:gd name="connsiteX0" fmla="*/ 0 w 2200617"/>
                  <a:gd name="connsiteY0" fmla="*/ 0 h 2730310"/>
                  <a:gd name="connsiteX1" fmla="*/ 2200618 w 2200617"/>
                  <a:gd name="connsiteY1" fmla="*/ 0 h 2730310"/>
                  <a:gd name="connsiteX2" fmla="*/ 2200618 w 2200617"/>
                  <a:gd name="connsiteY2" fmla="*/ 2730311 h 2730310"/>
                  <a:gd name="connsiteX3" fmla="*/ 0 w 2200617"/>
                  <a:gd name="connsiteY3" fmla="*/ 2730311 h 2730310"/>
                </a:gdLst>
                <a:ahLst/>
                <a:cxnLst>
                  <a:cxn ang="0">
                    <a:pos x="connsiteX0" y="connsiteY0"/>
                  </a:cxn>
                  <a:cxn ang="0">
                    <a:pos x="connsiteX1" y="connsiteY1"/>
                  </a:cxn>
                  <a:cxn ang="0">
                    <a:pos x="connsiteX2" y="connsiteY2"/>
                  </a:cxn>
                  <a:cxn ang="0">
                    <a:pos x="connsiteX3" y="connsiteY3"/>
                  </a:cxn>
                </a:cxnLst>
                <a:rect l="l" t="t" r="r" b="b"/>
                <a:pathLst>
                  <a:path w="2200617" h="2730310">
                    <a:moveTo>
                      <a:pt x="0" y="0"/>
                    </a:moveTo>
                    <a:lnTo>
                      <a:pt x="2200618" y="0"/>
                    </a:lnTo>
                    <a:lnTo>
                      <a:pt x="2200618" y="2730311"/>
                    </a:lnTo>
                    <a:lnTo>
                      <a:pt x="0" y="2730311"/>
                    </a:lnTo>
                    <a:close/>
                  </a:path>
                </a:pathLst>
              </a:custGeom>
              <a:solidFill>
                <a:srgbClr val="5D9091"/>
              </a:solidFill>
              <a:ln w="148590" cap="flat">
                <a:noFill/>
                <a:prstDash val="solid"/>
                <a:miter/>
              </a:ln>
            </p:spPr>
            <p:txBody>
              <a:bodyPr rtlCol="0" anchor="ctr"/>
              <a:lstStyle/>
              <a:p>
                <a:endParaRPr lang="en-AE"/>
              </a:p>
            </p:txBody>
          </p:sp>
          <p:sp>
            <p:nvSpPr>
              <p:cNvPr id="14" name="Freeform 13">
                <a:extLst>
                  <a:ext uri="{FF2B5EF4-FFF2-40B4-BE49-F238E27FC236}">
                    <a16:creationId xmlns:a16="http://schemas.microsoft.com/office/drawing/2014/main" id="{17E67917-423F-89B0-9136-C3F8FFA7AC44}"/>
                  </a:ext>
                </a:extLst>
              </p:cNvPr>
              <p:cNvSpPr/>
              <p:nvPr/>
            </p:nvSpPr>
            <p:spPr>
              <a:xfrm>
                <a:off x="16915041" y="5695215"/>
                <a:ext cx="612190" cy="603804"/>
              </a:xfrm>
              <a:custGeom>
                <a:avLst/>
                <a:gdLst>
                  <a:gd name="connsiteX0" fmla="*/ 612191 w 612190"/>
                  <a:gd name="connsiteY0" fmla="*/ 301903 h 603804"/>
                  <a:gd name="connsiteX1" fmla="*/ 306095 w 612190"/>
                  <a:gd name="connsiteY1" fmla="*/ 603805 h 603804"/>
                  <a:gd name="connsiteX2" fmla="*/ 0 w 612190"/>
                  <a:gd name="connsiteY2" fmla="*/ 301903 h 603804"/>
                  <a:gd name="connsiteX3" fmla="*/ 306095 w 612190"/>
                  <a:gd name="connsiteY3" fmla="*/ 0 h 603804"/>
                  <a:gd name="connsiteX4" fmla="*/ 612191 w 612190"/>
                  <a:gd name="connsiteY4" fmla="*/ 301903 h 603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190" h="603804">
                    <a:moveTo>
                      <a:pt x="612191" y="301903"/>
                    </a:moveTo>
                    <a:cubicBezTo>
                      <a:pt x="612191" y="468639"/>
                      <a:pt x="475147" y="603805"/>
                      <a:pt x="306095" y="603805"/>
                    </a:cubicBezTo>
                    <a:cubicBezTo>
                      <a:pt x="137043" y="603805"/>
                      <a:pt x="0" y="468639"/>
                      <a:pt x="0" y="301903"/>
                    </a:cubicBezTo>
                    <a:cubicBezTo>
                      <a:pt x="0" y="135167"/>
                      <a:pt x="137043" y="0"/>
                      <a:pt x="306095" y="0"/>
                    </a:cubicBezTo>
                    <a:cubicBezTo>
                      <a:pt x="475147" y="0"/>
                      <a:pt x="612191" y="135167"/>
                      <a:pt x="612191" y="301903"/>
                    </a:cubicBezTo>
                    <a:close/>
                  </a:path>
                </a:pathLst>
              </a:custGeom>
              <a:solidFill>
                <a:srgbClr val="E9CD62"/>
              </a:solidFill>
              <a:ln w="148590" cap="flat">
                <a:noFill/>
                <a:prstDash val="solid"/>
                <a:miter/>
              </a:ln>
            </p:spPr>
            <p:txBody>
              <a:bodyPr rtlCol="0" anchor="ctr"/>
              <a:lstStyle/>
              <a:p>
                <a:endParaRPr lang="en-AE"/>
              </a:p>
            </p:txBody>
          </p:sp>
          <p:sp>
            <p:nvSpPr>
              <p:cNvPr id="15" name="Freeform 14">
                <a:extLst>
                  <a:ext uri="{FF2B5EF4-FFF2-40B4-BE49-F238E27FC236}">
                    <a16:creationId xmlns:a16="http://schemas.microsoft.com/office/drawing/2014/main" id="{9ECB5636-E0AF-5FFE-05A0-7946EFB0B8A6}"/>
                  </a:ext>
                </a:extLst>
              </p:cNvPr>
              <p:cNvSpPr/>
              <p:nvPr/>
            </p:nvSpPr>
            <p:spPr>
              <a:xfrm>
                <a:off x="16439553" y="6672733"/>
                <a:ext cx="1564652" cy="1549081"/>
              </a:xfrm>
              <a:custGeom>
                <a:avLst/>
                <a:gdLst>
                  <a:gd name="connsiteX0" fmla="*/ 781583 w 1564652"/>
                  <a:gd name="connsiteY0" fmla="*/ 5862 h 1549081"/>
                  <a:gd name="connsiteX1" fmla="*/ 699859 w 1564652"/>
                  <a:gd name="connsiteY1" fmla="*/ 86467 h 1549081"/>
                  <a:gd name="connsiteX2" fmla="*/ 699859 w 1564652"/>
                  <a:gd name="connsiteY2" fmla="*/ 408887 h 1549081"/>
                  <a:gd name="connsiteX3" fmla="*/ 563156 w 1564652"/>
                  <a:gd name="connsiteY3" fmla="*/ 115778 h 1549081"/>
                  <a:gd name="connsiteX4" fmla="*/ 456171 w 1564652"/>
                  <a:gd name="connsiteY4" fmla="*/ 76208 h 1549081"/>
                  <a:gd name="connsiteX5" fmla="*/ 416052 w 1564652"/>
                  <a:gd name="connsiteY5" fmla="*/ 181728 h 1549081"/>
                  <a:gd name="connsiteX6" fmla="*/ 520065 w 1564652"/>
                  <a:gd name="connsiteY6" fmla="*/ 405956 h 1549081"/>
                  <a:gd name="connsiteX7" fmla="*/ 343243 w 1564652"/>
                  <a:gd name="connsiteY7" fmla="*/ 231556 h 1549081"/>
                  <a:gd name="connsiteX8" fmla="*/ 228829 w 1564652"/>
                  <a:gd name="connsiteY8" fmla="*/ 231556 h 1549081"/>
                  <a:gd name="connsiteX9" fmla="*/ 228829 w 1564652"/>
                  <a:gd name="connsiteY9" fmla="*/ 344403 h 1549081"/>
                  <a:gd name="connsiteX10" fmla="*/ 402679 w 1564652"/>
                  <a:gd name="connsiteY10" fmla="*/ 515872 h 1549081"/>
                  <a:gd name="connsiteX11" fmla="*/ 179794 w 1564652"/>
                  <a:gd name="connsiteY11" fmla="*/ 414750 h 1549081"/>
                  <a:gd name="connsiteX12" fmla="*/ 71323 w 1564652"/>
                  <a:gd name="connsiteY12" fmla="*/ 454319 h 1549081"/>
                  <a:gd name="connsiteX13" fmla="*/ 111443 w 1564652"/>
                  <a:gd name="connsiteY13" fmla="*/ 561304 h 1549081"/>
                  <a:gd name="connsiteX14" fmla="*/ 411594 w 1564652"/>
                  <a:gd name="connsiteY14" fmla="*/ 697600 h 1549081"/>
                  <a:gd name="connsiteX15" fmla="*/ 81724 w 1564652"/>
                  <a:gd name="connsiteY15" fmla="*/ 697600 h 1549081"/>
                  <a:gd name="connsiteX16" fmla="*/ 0 w 1564652"/>
                  <a:gd name="connsiteY16" fmla="*/ 778205 h 1549081"/>
                  <a:gd name="connsiteX17" fmla="*/ 81724 w 1564652"/>
                  <a:gd name="connsiteY17" fmla="*/ 858810 h 1549081"/>
                  <a:gd name="connsiteX18" fmla="*/ 408623 w 1564652"/>
                  <a:gd name="connsiteY18" fmla="*/ 858810 h 1549081"/>
                  <a:gd name="connsiteX19" fmla="*/ 111443 w 1564652"/>
                  <a:gd name="connsiteY19" fmla="*/ 993640 h 1549081"/>
                  <a:gd name="connsiteX20" fmla="*/ 71323 w 1564652"/>
                  <a:gd name="connsiteY20" fmla="*/ 1099159 h 1549081"/>
                  <a:gd name="connsiteX21" fmla="*/ 178308 w 1564652"/>
                  <a:gd name="connsiteY21" fmla="*/ 1138729 h 1549081"/>
                  <a:gd name="connsiteX22" fmla="*/ 405651 w 1564652"/>
                  <a:gd name="connsiteY22" fmla="*/ 1036140 h 1549081"/>
                  <a:gd name="connsiteX23" fmla="*/ 228829 w 1564652"/>
                  <a:gd name="connsiteY23" fmla="*/ 1210541 h 1549081"/>
                  <a:gd name="connsiteX24" fmla="*/ 228829 w 1564652"/>
                  <a:gd name="connsiteY24" fmla="*/ 1323388 h 1549081"/>
                  <a:gd name="connsiteX25" fmla="*/ 343243 w 1564652"/>
                  <a:gd name="connsiteY25" fmla="*/ 1323388 h 1549081"/>
                  <a:gd name="connsiteX26" fmla="*/ 517093 w 1564652"/>
                  <a:gd name="connsiteY26" fmla="*/ 1151919 h 1549081"/>
                  <a:gd name="connsiteX27" fmla="*/ 414566 w 1564652"/>
                  <a:gd name="connsiteY27" fmla="*/ 1371750 h 1549081"/>
                  <a:gd name="connsiteX28" fmla="*/ 454685 w 1564652"/>
                  <a:gd name="connsiteY28" fmla="*/ 1478735 h 1549081"/>
                  <a:gd name="connsiteX29" fmla="*/ 563156 w 1564652"/>
                  <a:gd name="connsiteY29" fmla="*/ 1439165 h 1549081"/>
                  <a:gd name="connsiteX30" fmla="*/ 701345 w 1564652"/>
                  <a:gd name="connsiteY30" fmla="*/ 1143126 h 1549081"/>
                  <a:gd name="connsiteX31" fmla="*/ 701345 w 1564652"/>
                  <a:gd name="connsiteY31" fmla="*/ 1468476 h 1549081"/>
                  <a:gd name="connsiteX32" fmla="*/ 783069 w 1564652"/>
                  <a:gd name="connsiteY32" fmla="*/ 1549081 h 1549081"/>
                  <a:gd name="connsiteX33" fmla="*/ 864794 w 1564652"/>
                  <a:gd name="connsiteY33" fmla="*/ 1468476 h 1549081"/>
                  <a:gd name="connsiteX34" fmla="*/ 864794 w 1564652"/>
                  <a:gd name="connsiteY34" fmla="*/ 1146056 h 1549081"/>
                  <a:gd name="connsiteX35" fmla="*/ 1001497 w 1564652"/>
                  <a:gd name="connsiteY35" fmla="*/ 1439165 h 1549081"/>
                  <a:gd name="connsiteX36" fmla="*/ 1108481 w 1564652"/>
                  <a:gd name="connsiteY36" fmla="*/ 1478735 h 1549081"/>
                  <a:gd name="connsiteX37" fmla="*/ 1156030 w 1564652"/>
                  <a:gd name="connsiteY37" fmla="*/ 1405458 h 1549081"/>
                  <a:gd name="connsiteX38" fmla="*/ 1148601 w 1564652"/>
                  <a:gd name="connsiteY38" fmla="*/ 1371750 h 1549081"/>
                  <a:gd name="connsiteX39" fmla="*/ 1044588 w 1564652"/>
                  <a:gd name="connsiteY39" fmla="*/ 1147522 h 1549081"/>
                  <a:gd name="connsiteX40" fmla="*/ 1221410 w 1564652"/>
                  <a:gd name="connsiteY40" fmla="*/ 1321922 h 1549081"/>
                  <a:gd name="connsiteX41" fmla="*/ 1335824 w 1564652"/>
                  <a:gd name="connsiteY41" fmla="*/ 1321922 h 1549081"/>
                  <a:gd name="connsiteX42" fmla="*/ 1359599 w 1564652"/>
                  <a:gd name="connsiteY42" fmla="*/ 1264766 h 1549081"/>
                  <a:gd name="connsiteX43" fmla="*/ 1335824 w 1564652"/>
                  <a:gd name="connsiteY43" fmla="*/ 1207610 h 1549081"/>
                  <a:gd name="connsiteX44" fmla="*/ 1161974 w 1564652"/>
                  <a:gd name="connsiteY44" fmla="*/ 1036140 h 1549081"/>
                  <a:gd name="connsiteX45" fmla="*/ 1384859 w 1564652"/>
                  <a:gd name="connsiteY45" fmla="*/ 1137263 h 1549081"/>
                  <a:gd name="connsiteX46" fmla="*/ 1493329 w 1564652"/>
                  <a:gd name="connsiteY46" fmla="*/ 1097694 h 1549081"/>
                  <a:gd name="connsiteX47" fmla="*/ 1500759 w 1564652"/>
                  <a:gd name="connsiteY47" fmla="*/ 1063986 h 1549081"/>
                  <a:gd name="connsiteX48" fmla="*/ 1453210 w 1564652"/>
                  <a:gd name="connsiteY48" fmla="*/ 990709 h 1549081"/>
                  <a:gd name="connsiteX49" fmla="*/ 1153058 w 1564652"/>
                  <a:gd name="connsiteY49" fmla="*/ 854413 h 1549081"/>
                  <a:gd name="connsiteX50" fmla="*/ 1482928 w 1564652"/>
                  <a:gd name="connsiteY50" fmla="*/ 854413 h 1549081"/>
                  <a:gd name="connsiteX51" fmla="*/ 1564653 w 1564652"/>
                  <a:gd name="connsiteY51" fmla="*/ 773808 h 1549081"/>
                  <a:gd name="connsiteX52" fmla="*/ 1482928 w 1564652"/>
                  <a:gd name="connsiteY52" fmla="*/ 693203 h 1549081"/>
                  <a:gd name="connsiteX53" fmla="*/ 1156030 w 1564652"/>
                  <a:gd name="connsiteY53" fmla="*/ 693203 h 1549081"/>
                  <a:gd name="connsiteX54" fmla="*/ 1453210 w 1564652"/>
                  <a:gd name="connsiteY54" fmla="*/ 558373 h 1549081"/>
                  <a:gd name="connsiteX55" fmla="*/ 1500759 w 1564652"/>
                  <a:gd name="connsiteY55" fmla="*/ 485096 h 1549081"/>
                  <a:gd name="connsiteX56" fmla="*/ 1493329 w 1564652"/>
                  <a:gd name="connsiteY56" fmla="*/ 451388 h 1549081"/>
                  <a:gd name="connsiteX57" fmla="*/ 1386345 w 1564652"/>
                  <a:gd name="connsiteY57" fmla="*/ 411818 h 1549081"/>
                  <a:gd name="connsiteX58" fmla="*/ 1159002 w 1564652"/>
                  <a:gd name="connsiteY58" fmla="*/ 514407 h 1549081"/>
                  <a:gd name="connsiteX59" fmla="*/ 1335824 w 1564652"/>
                  <a:gd name="connsiteY59" fmla="*/ 340006 h 1549081"/>
                  <a:gd name="connsiteX60" fmla="*/ 1359599 w 1564652"/>
                  <a:gd name="connsiteY60" fmla="*/ 282850 h 1549081"/>
                  <a:gd name="connsiteX61" fmla="*/ 1335824 w 1564652"/>
                  <a:gd name="connsiteY61" fmla="*/ 225694 h 1549081"/>
                  <a:gd name="connsiteX62" fmla="*/ 1221410 w 1564652"/>
                  <a:gd name="connsiteY62" fmla="*/ 225694 h 1549081"/>
                  <a:gd name="connsiteX63" fmla="*/ 1047560 w 1564652"/>
                  <a:gd name="connsiteY63" fmla="*/ 397163 h 1549081"/>
                  <a:gd name="connsiteX64" fmla="*/ 1150087 w 1564652"/>
                  <a:gd name="connsiteY64" fmla="*/ 177331 h 1549081"/>
                  <a:gd name="connsiteX65" fmla="*/ 1157516 w 1564652"/>
                  <a:gd name="connsiteY65" fmla="*/ 143623 h 1549081"/>
                  <a:gd name="connsiteX66" fmla="*/ 1109967 w 1564652"/>
                  <a:gd name="connsiteY66" fmla="*/ 70346 h 1549081"/>
                  <a:gd name="connsiteX67" fmla="*/ 1001497 w 1564652"/>
                  <a:gd name="connsiteY67" fmla="*/ 109916 h 1549081"/>
                  <a:gd name="connsiteX68" fmla="*/ 863308 w 1564652"/>
                  <a:gd name="connsiteY68" fmla="*/ 405956 h 1549081"/>
                  <a:gd name="connsiteX69" fmla="*/ 863308 w 1564652"/>
                  <a:gd name="connsiteY69" fmla="*/ 80605 h 1549081"/>
                  <a:gd name="connsiteX70" fmla="*/ 781583 w 1564652"/>
                  <a:gd name="connsiteY70" fmla="*/ 0 h 1549081"/>
                  <a:gd name="connsiteX71" fmla="*/ 971779 w 1564652"/>
                  <a:gd name="connsiteY71" fmla="*/ 776739 h 1549081"/>
                  <a:gd name="connsiteX72" fmla="*/ 772668 w 1564652"/>
                  <a:gd name="connsiteY72" fmla="*/ 973123 h 1549081"/>
                  <a:gd name="connsiteX73" fmla="*/ 573557 w 1564652"/>
                  <a:gd name="connsiteY73" fmla="*/ 776739 h 1549081"/>
                  <a:gd name="connsiteX74" fmla="*/ 772668 w 1564652"/>
                  <a:gd name="connsiteY74" fmla="*/ 580356 h 1549081"/>
                  <a:gd name="connsiteX75" fmla="*/ 971779 w 1564652"/>
                  <a:gd name="connsiteY75" fmla="*/ 776739 h 1549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564652" h="1549081">
                    <a:moveTo>
                      <a:pt x="781583" y="5862"/>
                    </a:moveTo>
                    <a:cubicBezTo>
                      <a:pt x="737006" y="5862"/>
                      <a:pt x="699859" y="41036"/>
                      <a:pt x="699859" y="86467"/>
                    </a:cubicBezTo>
                    <a:lnTo>
                      <a:pt x="699859" y="408887"/>
                    </a:lnTo>
                    <a:lnTo>
                      <a:pt x="563156" y="115778"/>
                    </a:lnTo>
                    <a:cubicBezTo>
                      <a:pt x="543839" y="76208"/>
                      <a:pt x="496291" y="57157"/>
                      <a:pt x="456171" y="76208"/>
                    </a:cubicBezTo>
                    <a:cubicBezTo>
                      <a:pt x="416052" y="95261"/>
                      <a:pt x="396735" y="142158"/>
                      <a:pt x="416052" y="181728"/>
                    </a:cubicBezTo>
                    <a:lnTo>
                      <a:pt x="520065" y="405956"/>
                    </a:lnTo>
                    <a:lnTo>
                      <a:pt x="343243" y="231556"/>
                    </a:lnTo>
                    <a:cubicBezTo>
                      <a:pt x="312039" y="200780"/>
                      <a:pt x="260033" y="200780"/>
                      <a:pt x="228829" y="231556"/>
                    </a:cubicBezTo>
                    <a:cubicBezTo>
                      <a:pt x="197625" y="262333"/>
                      <a:pt x="197625" y="313627"/>
                      <a:pt x="228829" y="344403"/>
                    </a:cubicBezTo>
                    <a:lnTo>
                      <a:pt x="402679" y="515872"/>
                    </a:lnTo>
                    <a:lnTo>
                      <a:pt x="179794" y="414750"/>
                    </a:lnTo>
                    <a:cubicBezTo>
                      <a:pt x="139675" y="395697"/>
                      <a:pt x="90640" y="414750"/>
                      <a:pt x="71323" y="454319"/>
                    </a:cubicBezTo>
                    <a:cubicBezTo>
                      <a:pt x="52006" y="493889"/>
                      <a:pt x="71323" y="542252"/>
                      <a:pt x="111443" y="561304"/>
                    </a:cubicBezTo>
                    <a:lnTo>
                      <a:pt x="411594" y="697600"/>
                    </a:lnTo>
                    <a:lnTo>
                      <a:pt x="81724" y="697600"/>
                    </a:lnTo>
                    <a:cubicBezTo>
                      <a:pt x="37148" y="697600"/>
                      <a:pt x="0" y="732773"/>
                      <a:pt x="0" y="778205"/>
                    </a:cubicBezTo>
                    <a:cubicBezTo>
                      <a:pt x="0" y="823637"/>
                      <a:pt x="35662" y="858810"/>
                      <a:pt x="81724" y="858810"/>
                    </a:cubicBezTo>
                    <a:lnTo>
                      <a:pt x="408623" y="858810"/>
                    </a:lnTo>
                    <a:lnTo>
                      <a:pt x="111443" y="993640"/>
                    </a:lnTo>
                    <a:cubicBezTo>
                      <a:pt x="71323" y="1012692"/>
                      <a:pt x="52006" y="1059589"/>
                      <a:pt x="71323" y="1099159"/>
                    </a:cubicBezTo>
                    <a:cubicBezTo>
                      <a:pt x="90640" y="1138729"/>
                      <a:pt x="138189" y="1157781"/>
                      <a:pt x="178308" y="1138729"/>
                    </a:cubicBezTo>
                    <a:lnTo>
                      <a:pt x="405651" y="1036140"/>
                    </a:lnTo>
                    <a:lnTo>
                      <a:pt x="228829" y="1210541"/>
                    </a:lnTo>
                    <a:cubicBezTo>
                      <a:pt x="197625" y="1241317"/>
                      <a:pt x="197625" y="1292611"/>
                      <a:pt x="228829" y="1323388"/>
                    </a:cubicBezTo>
                    <a:cubicBezTo>
                      <a:pt x="260033" y="1354164"/>
                      <a:pt x="312039" y="1354164"/>
                      <a:pt x="343243" y="1323388"/>
                    </a:cubicBezTo>
                    <a:lnTo>
                      <a:pt x="517093" y="1151919"/>
                    </a:lnTo>
                    <a:lnTo>
                      <a:pt x="414566" y="1371750"/>
                    </a:lnTo>
                    <a:cubicBezTo>
                      <a:pt x="395249" y="1411320"/>
                      <a:pt x="414566" y="1459684"/>
                      <a:pt x="454685" y="1478735"/>
                    </a:cubicBezTo>
                    <a:cubicBezTo>
                      <a:pt x="494805" y="1497787"/>
                      <a:pt x="543839" y="1478735"/>
                      <a:pt x="563156" y="1439165"/>
                    </a:cubicBezTo>
                    <a:lnTo>
                      <a:pt x="701345" y="1143126"/>
                    </a:lnTo>
                    <a:lnTo>
                      <a:pt x="701345" y="1468476"/>
                    </a:lnTo>
                    <a:cubicBezTo>
                      <a:pt x="701345" y="1512443"/>
                      <a:pt x="737006" y="1549081"/>
                      <a:pt x="783069" y="1549081"/>
                    </a:cubicBezTo>
                    <a:cubicBezTo>
                      <a:pt x="829132" y="1549081"/>
                      <a:pt x="864794" y="1513909"/>
                      <a:pt x="864794" y="1468476"/>
                    </a:cubicBezTo>
                    <a:lnTo>
                      <a:pt x="864794" y="1146056"/>
                    </a:lnTo>
                    <a:lnTo>
                      <a:pt x="1001497" y="1439165"/>
                    </a:lnTo>
                    <a:cubicBezTo>
                      <a:pt x="1020813" y="1478735"/>
                      <a:pt x="1068362" y="1497787"/>
                      <a:pt x="1108481" y="1478735"/>
                    </a:cubicBezTo>
                    <a:cubicBezTo>
                      <a:pt x="1138199" y="1465545"/>
                      <a:pt x="1156030" y="1436235"/>
                      <a:pt x="1156030" y="1405458"/>
                    </a:cubicBezTo>
                    <a:cubicBezTo>
                      <a:pt x="1156030" y="1393734"/>
                      <a:pt x="1153058" y="1383475"/>
                      <a:pt x="1148601" y="1371750"/>
                    </a:cubicBezTo>
                    <a:lnTo>
                      <a:pt x="1044588" y="1147522"/>
                    </a:lnTo>
                    <a:lnTo>
                      <a:pt x="1221410" y="1321922"/>
                    </a:lnTo>
                    <a:cubicBezTo>
                      <a:pt x="1252614" y="1352698"/>
                      <a:pt x="1304620" y="1352698"/>
                      <a:pt x="1335824" y="1321922"/>
                    </a:cubicBezTo>
                    <a:cubicBezTo>
                      <a:pt x="1352169" y="1305801"/>
                      <a:pt x="1359599" y="1285283"/>
                      <a:pt x="1359599" y="1264766"/>
                    </a:cubicBezTo>
                    <a:cubicBezTo>
                      <a:pt x="1359599" y="1244248"/>
                      <a:pt x="1352169" y="1223731"/>
                      <a:pt x="1335824" y="1207610"/>
                    </a:cubicBezTo>
                    <a:lnTo>
                      <a:pt x="1161974" y="1036140"/>
                    </a:lnTo>
                    <a:lnTo>
                      <a:pt x="1384859" y="1137263"/>
                    </a:lnTo>
                    <a:cubicBezTo>
                      <a:pt x="1424978" y="1156316"/>
                      <a:pt x="1474013" y="1137263"/>
                      <a:pt x="1493329" y="1097694"/>
                    </a:cubicBezTo>
                    <a:cubicBezTo>
                      <a:pt x="1497787" y="1087435"/>
                      <a:pt x="1500759" y="1075710"/>
                      <a:pt x="1500759" y="1063986"/>
                    </a:cubicBezTo>
                    <a:cubicBezTo>
                      <a:pt x="1500759" y="1033210"/>
                      <a:pt x="1482928" y="1005364"/>
                      <a:pt x="1453210" y="990709"/>
                    </a:cubicBezTo>
                    <a:lnTo>
                      <a:pt x="1153058" y="854413"/>
                    </a:lnTo>
                    <a:lnTo>
                      <a:pt x="1482928" y="854413"/>
                    </a:lnTo>
                    <a:cubicBezTo>
                      <a:pt x="1527505" y="854413"/>
                      <a:pt x="1564653" y="819240"/>
                      <a:pt x="1564653" y="773808"/>
                    </a:cubicBezTo>
                    <a:cubicBezTo>
                      <a:pt x="1564653" y="728376"/>
                      <a:pt x="1528991" y="693203"/>
                      <a:pt x="1482928" y="693203"/>
                    </a:cubicBezTo>
                    <a:lnTo>
                      <a:pt x="1156030" y="693203"/>
                    </a:lnTo>
                    <a:lnTo>
                      <a:pt x="1453210" y="558373"/>
                    </a:lnTo>
                    <a:cubicBezTo>
                      <a:pt x="1482928" y="545183"/>
                      <a:pt x="1500759" y="515872"/>
                      <a:pt x="1500759" y="485096"/>
                    </a:cubicBezTo>
                    <a:cubicBezTo>
                      <a:pt x="1500759" y="473371"/>
                      <a:pt x="1497787" y="463112"/>
                      <a:pt x="1493329" y="451388"/>
                    </a:cubicBezTo>
                    <a:cubicBezTo>
                      <a:pt x="1474013" y="411818"/>
                      <a:pt x="1426464" y="392766"/>
                      <a:pt x="1386345" y="411818"/>
                    </a:cubicBezTo>
                    <a:lnTo>
                      <a:pt x="1159002" y="514407"/>
                    </a:lnTo>
                    <a:lnTo>
                      <a:pt x="1335824" y="340006"/>
                    </a:lnTo>
                    <a:cubicBezTo>
                      <a:pt x="1352169" y="323886"/>
                      <a:pt x="1359599" y="303368"/>
                      <a:pt x="1359599" y="282850"/>
                    </a:cubicBezTo>
                    <a:cubicBezTo>
                      <a:pt x="1359599" y="262333"/>
                      <a:pt x="1352169" y="241815"/>
                      <a:pt x="1335824" y="225694"/>
                    </a:cubicBezTo>
                    <a:cubicBezTo>
                      <a:pt x="1304620" y="194918"/>
                      <a:pt x="1252614" y="194918"/>
                      <a:pt x="1221410" y="225694"/>
                    </a:cubicBezTo>
                    <a:lnTo>
                      <a:pt x="1047560" y="397163"/>
                    </a:lnTo>
                    <a:lnTo>
                      <a:pt x="1150087" y="177331"/>
                    </a:lnTo>
                    <a:cubicBezTo>
                      <a:pt x="1154544" y="167073"/>
                      <a:pt x="1157516" y="155348"/>
                      <a:pt x="1157516" y="143623"/>
                    </a:cubicBezTo>
                    <a:cubicBezTo>
                      <a:pt x="1157516" y="112847"/>
                      <a:pt x="1139685" y="85002"/>
                      <a:pt x="1109967" y="70346"/>
                    </a:cubicBezTo>
                    <a:cubicBezTo>
                      <a:pt x="1069848" y="51294"/>
                      <a:pt x="1020813" y="70346"/>
                      <a:pt x="1001497" y="109916"/>
                    </a:cubicBezTo>
                    <a:lnTo>
                      <a:pt x="863308" y="405956"/>
                    </a:lnTo>
                    <a:lnTo>
                      <a:pt x="863308" y="80605"/>
                    </a:lnTo>
                    <a:cubicBezTo>
                      <a:pt x="863308" y="36639"/>
                      <a:pt x="827646" y="0"/>
                      <a:pt x="781583" y="0"/>
                    </a:cubicBezTo>
                    <a:close/>
                    <a:moveTo>
                      <a:pt x="971779" y="776739"/>
                    </a:moveTo>
                    <a:cubicBezTo>
                      <a:pt x="971779" y="885189"/>
                      <a:pt x="882625" y="973123"/>
                      <a:pt x="772668" y="973123"/>
                    </a:cubicBezTo>
                    <a:cubicBezTo>
                      <a:pt x="662711" y="973123"/>
                      <a:pt x="573557" y="885189"/>
                      <a:pt x="573557" y="776739"/>
                    </a:cubicBezTo>
                    <a:cubicBezTo>
                      <a:pt x="573557" y="668289"/>
                      <a:pt x="662711" y="580356"/>
                      <a:pt x="772668" y="580356"/>
                    </a:cubicBezTo>
                    <a:cubicBezTo>
                      <a:pt x="882625" y="580356"/>
                      <a:pt x="971779" y="668289"/>
                      <a:pt x="971779" y="776739"/>
                    </a:cubicBezTo>
                    <a:close/>
                  </a:path>
                </a:pathLst>
              </a:custGeom>
              <a:solidFill>
                <a:srgbClr val="FFFFFF"/>
              </a:solidFill>
              <a:ln w="148590" cap="flat">
                <a:noFill/>
                <a:prstDash val="solid"/>
                <a:miter/>
              </a:ln>
            </p:spPr>
            <p:txBody>
              <a:bodyPr rtlCol="0" anchor="ctr"/>
              <a:lstStyle/>
              <a:p>
                <a:endParaRPr lang="en-AE"/>
              </a:p>
            </p:txBody>
          </p:sp>
        </p:grpSp>
        <p:grpSp>
          <p:nvGrpSpPr>
            <p:cNvPr id="16" name="Graphic 5">
              <a:extLst>
                <a:ext uri="{FF2B5EF4-FFF2-40B4-BE49-F238E27FC236}">
                  <a16:creationId xmlns:a16="http://schemas.microsoft.com/office/drawing/2014/main" id="{40A62095-F72C-C94D-04EA-DC85A3F1AF66}"/>
                </a:ext>
              </a:extLst>
            </p:cNvPr>
            <p:cNvGrpSpPr/>
            <p:nvPr/>
          </p:nvGrpSpPr>
          <p:grpSpPr>
            <a:xfrm>
              <a:off x="15386050" y="8425525"/>
              <a:ext cx="2200617" cy="2835829"/>
              <a:chOff x="15386050" y="8425525"/>
              <a:chExt cx="2200617" cy="2835829"/>
            </a:xfrm>
          </p:grpSpPr>
          <p:sp>
            <p:nvSpPr>
              <p:cNvPr id="17" name="Freeform 16">
                <a:extLst>
                  <a:ext uri="{FF2B5EF4-FFF2-40B4-BE49-F238E27FC236}">
                    <a16:creationId xmlns:a16="http://schemas.microsoft.com/office/drawing/2014/main" id="{788ADF51-81B8-FB78-F3C3-906C34F77541}"/>
                  </a:ext>
                </a:extLst>
              </p:cNvPr>
              <p:cNvSpPr/>
              <p:nvPr/>
            </p:nvSpPr>
            <p:spPr>
              <a:xfrm>
                <a:off x="15386050" y="8727428"/>
                <a:ext cx="2200617" cy="2533927"/>
              </a:xfrm>
              <a:custGeom>
                <a:avLst/>
                <a:gdLst>
                  <a:gd name="connsiteX0" fmla="*/ 0 w 2200617"/>
                  <a:gd name="connsiteY0" fmla="*/ 0 h 2533927"/>
                  <a:gd name="connsiteX1" fmla="*/ 2200618 w 2200617"/>
                  <a:gd name="connsiteY1" fmla="*/ 0 h 2533927"/>
                  <a:gd name="connsiteX2" fmla="*/ 2200618 w 2200617"/>
                  <a:gd name="connsiteY2" fmla="*/ 2533928 h 2533927"/>
                  <a:gd name="connsiteX3" fmla="*/ 0 w 2200617"/>
                  <a:gd name="connsiteY3" fmla="*/ 2533928 h 2533927"/>
                </a:gdLst>
                <a:ahLst/>
                <a:cxnLst>
                  <a:cxn ang="0">
                    <a:pos x="connsiteX0" y="connsiteY0"/>
                  </a:cxn>
                  <a:cxn ang="0">
                    <a:pos x="connsiteX1" y="connsiteY1"/>
                  </a:cxn>
                  <a:cxn ang="0">
                    <a:pos x="connsiteX2" y="connsiteY2"/>
                  </a:cxn>
                  <a:cxn ang="0">
                    <a:pos x="connsiteX3" y="connsiteY3"/>
                  </a:cxn>
                </a:cxnLst>
                <a:rect l="l" t="t" r="r" b="b"/>
                <a:pathLst>
                  <a:path w="2200617" h="2533927">
                    <a:moveTo>
                      <a:pt x="0" y="0"/>
                    </a:moveTo>
                    <a:lnTo>
                      <a:pt x="2200618" y="0"/>
                    </a:lnTo>
                    <a:lnTo>
                      <a:pt x="2200618" y="2533928"/>
                    </a:lnTo>
                    <a:lnTo>
                      <a:pt x="0" y="2533928"/>
                    </a:lnTo>
                    <a:close/>
                  </a:path>
                </a:pathLst>
              </a:custGeom>
              <a:solidFill>
                <a:srgbClr val="8CB984"/>
              </a:solidFill>
              <a:ln w="148590" cap="flat">
                <a:noFill/>
                <a:prstDash val="solid"/>
                <a:miter/>
              </a:ln>
            </p:spPr>
            <p:txBody>
              <a:bodyPr rtlCol="0" anchor="ctr"/>
              <a:lstStyle/>
              <a:p>
                <a:endParaRPr lang="en-AE"/>
              </a:p>
            </p:txBody>
          </p:sp>
          <p:sp>
            <p:nvSpPr>
              <p:cNvPr id="18" name="Freeform 17">
                <a:extLst>
                  <a:ext uri="{FF2B5EF4-FFF2-40B4-BE49-F238E27FC236}">
                    <a16:creationId xmlns:a16="http://schemas.microsoft.com/office/drawing/2014/main" id="{FF1A08BC-56DC-C542-E80F-CA581BCC3187}"/>
                  </a:ext>
                </a:extLst>
              </p:cNvPr>
              <p:cNvSpPr/>
              <p:nvPr/>
            </p:nvSpPr>
            <p:spPr>
              <a:xfrm>
                <a:off x="16181006" y="8425525"/>
                <a:ext cx="612190" cy="603804"/>
              </a:xfrm>
              <a:custGeom>
                <a:avLst/>
                <a:gdLst>
                  <a:gd name="connsiteX0" fmla="*/ 612191 w 612190"/>
                  <a:gd name="connsiteY0" fmla="*/ 301902 h 603804"/>
                  <a:gd name="connsiteX1" fmla="*/ 306095 w 612190"/>
                  <a:gd name="connsiteY1" fmla="*/ 603805 h 603804"/>
                  <a:gd name="connsiteX2" fmla="*/ 0 w 612190"/>
                  <a:gd name="connsiteY2" fmla="*/ 301902 h 603804"/>
                  <a:gd name="connsiteX3" fmla="*/ 306095 w 612190"/>
                  <a:gd name="connsiteY3" fmla="*/ 0 h 603804"/>
                  <a:gd name="connsiteX4" fmla="*/ 612191 w 612190"/>
                  <a:gd name="connsiteY4" fmla="*/ 301902 h 603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190" h="603804">
                    <a:moveTo>
                      <a:pt x="612191" y="301902"/>
                    </a:moveTo>
                    <a:cubicBezTo>
                      <a:pt x="612191" y="468638"/>
                      <a:pt x="475147" y="603805"/>
                      <a:pt x="306095" y="603805"/>
                    </a:cubicBezTo>
                    <a:cubicBezTo>
                      <a:pt x="137044" y="603805"/>
                      <a:pt x="0" y="468638"/>
                      <a:pt x="0" y="301902"/>
                    </a:cubicBezTo>
                    <a:cubicBezTo>
                      <a:pt x="0" y="135166"/>
                      <a:pt x="137044" y="0"/>
                      <a:pt x="306095" y="0"/>
                    </a:cubicBezTo>
                    <a:cubicBezTo>
                      <a:pt x="475147" y="0"/>
                      <a:pt x="612191" y="135166"/>
                      <a:pt x="612191" y="301902"/>
                    </a:cubicBezTo>
                    <a:close/>
                  </a:path>
                </a:pathLst>
              </a:custGeom>
              <a:solidFill>
                <a:srgbClr val="E9CD62"/>
              </a:solidFill>
              <a:ln w="148590" cap="flat">
                <a:noFill/>
                <a:prstDash val="solid"/>
                <a:miter/>
              </a:ln>
            </p:spPr>
            <p:txBody>
              <a:bodyPr rtlCol="0" anchor="ctr"/>
              <a:lstStyle/>
              <a:p>
                <a:endParaRPr lang="en-AE"/>
              </a:p>
            </p:txBody>
          </p:sp>
          <p:grpSp>
            <p:nvGrpSpPr>
              <p:cNvPr id="19" name="Graphic 5">
                <a:extLst>
                  <a:ext uri="{FF2B5EF4-FFF2-40B4-BE49-F238E27FC236}">
                    <a16:creationId xmlns:a16="http://schemas.microsoft.com/office/drawing/2014/main" id="{51DD2172-FD4B-8AB1-A1AB-7C1E507D4901}"/>
                  </a:ext>
                </a:extLst>
              </p:cNvPr>
              <p:cNvGrpSpPr/>
              <p:nvPr/>
            </p:nvGrpSpPr>
            <p:grpSpPr>
              <a:xfrm>
                <a:off x="15808858" y="9482831"/>
                <a:ext cx="1355784" cy="1258549"/>
                <a:chOff x="15808858" y="9482831"/>
                <a:chExt cx="1355784" cy="1258549"/>
              </a:xfrm>
              <a:solidFill>
                <a:srgbClr val="FFFFFF"/>
              </a:solidFill>
            </p:grpSpPr>
            <p:sp>
              <p:nvSpPr>
                <p:cNvPr id="20" name="Freeform 19">
                  <a:extLst>
                    <a:ext uri="{FF2B5EF4-FFF2-40B4-BE49-F238E27FC236}">
                      <a16:creationId xmlns:a16="http://schemas.microsoft.com/office/drawing/2014/main" id="{87DB498A-1AA3-F50C-D0FB-394BF5801242}"/>
                    </a:ext>
                  </a:extLst>
                </p:cNvPr>
                <p:cNvSpPr/>
                <p:nvPr/>
              </p:nvSpPr>
              <p:spPr>
                <a:xfrm rot="4791600">
                  <a:off x="15855583" y="9530519"/>
                  <a:ext cx="582473" cy="574494"/>
                </a:xfrm>
                <a:custGeom>
                  <a:avLst/>
                  <a:gdLst>
                    <a:gd name="connsiteX0" fmla="*/ 582473 w 582473"/>
                    <a:gd name="connsiteY0" fmla="*/ 0 h 574494"/>
                    <a:gd name="connsiteX1" fmla="*/ 582473 w 582473"/>
                    <a:gd name="connsiteY1" fmla="*/ 0 h 574494"/>
                    <a:gd name="connsiteX2" fmla="*/ 0 w 582473"/>
                    <a:gd name="connsiteY2" fmla="*/ 574494 h 574494"/>
                    <a:gd name="connsiteX3" fmla="*/ 0 w 582473"/>
                    <a:gd name="connsiteY3" fmla="*/ 574494 h 574494"/>
                    <a:gd name="connsiteX4" fmla="*/ 582473 w 582473"/>
                    <a:gd name="connsiteY4" fmla="*/ 0 h 574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473" h="574494">
                      <a:moveTo>
                        <a:pt x="582473" y="0"/>
                      </a:moveTo>
                      <a:lnTo>
                        <a:pt x="582473" y="0"/>
                      </a:lnTo>
                      <a:cubicBezTo>
                        <a:pt x="582473" y="316558"/>
                        <a:pt x="320955" y="574494"/>
                        <a:pt x="0" y="574494"/>
                      </a:cubicBezTo>
                      <a:lnTo>
                        <a:pt x="0" y="574494"/>
                      </a:lnTo>
                      <a:cubicBezTo>
                        <a:pt x="0" y="257936"/>
                        <a:pt x="261519" y="0"/>
                        <a:pt x="582473" y="0"/>
                      </a:cubicBezTo>
                      <a:close/>
                    </a:path>
                  </a:pathLst>
                </a:custGeom>
                <a:solidFill>
                  <a:srgbClr val="FFFFFF"/>
                </a:solidFill>
                <a:ln w="148590" cap="flat">
                  <a:noFill/>
                  <a:prstDash val="solid"/>
                  <a:miter/>
                </a:ln>
              </p:spPr>
              <p:txBody>
                <a:bodyPr rtlCol="0" anchor="ctr"/>
                <a:lstStyle/>
                <a:p>
                  <a:endParaRPr lang="en-AE"/>
                </a:p>
              </p:txBody>
            </p:sp>
            <p:sp>
              <p:nvSpPr>
                <p:cNvPr id="21" name="Freeform 20">
                  <a:extLst>
                    <a:ext uri="{FF2B5EF4-FFF2-40B4-BE49-F238E27FC236}">
                      <a16:creationId xmlns:a16="http://schemas.microsoft.com/office/drawing/2014/main" id="{20362E3C-0B7A-AE70-B5EA-E6EA0DC134D2}"/>
                    </a:ext>
                  </a:extLst>
                </p:cNvPr>
                <p:cNvSpPr/>
                <p:nvPr/>
              </p:nvSpPr>
              <p:spPr>
                <a:xfrm rot="6008400">
                  <a:off x="16533546" y="9528915"/>
                  <a:ext cx="582473" cy="574494"/>
                </a:xfrm>
                <a:custGeom>
                  <a:avLst/>
                  <a:gdLst>
                    <a:gd name="connsiteX0" fmla="*/ 0 w 582473"/>
                    <a:gd name="connsiteY0" fmla="*/ 0 h 574494"/>
                    <a:gd name="connsiteX1" fmla="*/ 0 w 582473"/>
                    <a:gd name="connsiteY1" fmla="*/ 0 h 574494"/>
                    <a:gd name="connsiteX2" fmla="*/ 582473 w 582473"/>
                    <a:gd name="connsiteY2" fmla="*/ 574494 h 574494"/>
                    <a:gd name="connsiteX3" fmla="*/ 582473 w 582473"/>
                    <a:gd name="connsiteY3" fmla="*/ 574494 h 574494"/>
                    <a:gd name="connsiteX4" fmla="*/ 0 w 582473"/>
                    <a:gd name="connsiteY4" fmla="*/ 0 h 574494"/>
                    <a:gd name="connsiteX5" fmla="*/ 0 w 582473"/>
                    <a:gd name="connsiteY5" fmla="*/ 0 h 57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2473" h="574494">
                      <a:moveTo>
                        <a:pt x="0" y="0"/>
                      </a:moveTo>
                      <a:lnTo>
                        <a:pt x="0" y="0"/>
                      </a:lnTo>
                      <a:cubicBezTo>
                        <a:pt x="320955" y="0"/>
                        <a:pt x="582473" y="257936"/>
                        <a:pt x="582473" y="574494"/>
                      </a:cubicBezTo>
                      <a:lnTo>
                        <a:pt x="582473" y="574494"/>
                      </a:lnTo>
                      <a:cubicBezTo>
                        <a:pt x="261518" y="574494"/>
                        <a:pt x="0" y="316558"/>
                        <a:pt x="0" y="0"/>
                      </a:cubicBezTo>
                      <a:lnTo>
                        <a:pt x="0" y="0"/>
                      </a:lnTo>
                      <a:close/>
                    </a:path>
                  </a:pathLst>
                </a:custGeom>
                <a:solidFill>
                  <a:srgbClr val="FFFFFF"/>
                </a:solidFill>
                <a:ln w="148590" cap="flat">
                  <a:noFill/>
                  <a:prstDash val="solid"/>
                  <a:miter/>
                </a:ln>
              </p:spPr>
              <p:txBody>
                <a:bodyPr rtlCol="0" anchor="ctr"/>
                <a:lstStyle/>
                <a:p>
                  <a:endParaRPr lang="en-AE"/>
                </a:p>
              </p:txBody>
            </p:sp>
            <p:sp>
              <p:nvSpPr>
                <p:cNvPr id="22" name="Freeform 21">
                  <a:extLst>
                    <a:ext uri="{FF2B5EF4-FFF2-40B4-BE49-F238E27FC236}">
                      <a16:creationId xmlns:a16="http://schemas.microsoft.com/office/drawing/2014/main" id="{F42F2B27-4E14-DF14-FBB6-C065AB02D6F8}"/>
                    </a:ext>
                  </a:extLst>
                </p:cNvPr>
                <p:cNvSpPr/>
                <p:nvPr/>
              </p:nvSpPr>
              <p:spPr>
                <a:xfrm rot="4791600">
                  <a:off x="15855997" y="10120802"/>
                  <a:ext cx="582473" cy="574493"/>
                </a:xfrm>
                <a:custGeom>
                  <a:avLst/>
                  <a:gdLst>
                    <a:gd name="connsiteX0" fmla="*/ 582473 w 582473"/>
                    <a:gd name="connsiteY0" fmla="*/ 0 h 574493"/>
                    <a:gd name="connsiteX1" fmla="*/ 582473 w 582473"/>
                    <a:gd name="connsiteY1" fmla="*/ 0 h 574493"/>
                    <a:gd name="connsiteX2" fmla="*/ 0 w 582473"/>
                    <a:gd name="connsiteY2" fmla="*/ 574494 h 574493"/>
                    <a:gd name="connsiteX3" fmla="*/ 0 w 582473"/>
                    <a:gd name="connsiteY3" fmla="*/ 574494 h 574493"/>
                    <a:gd name="connsiteX4" fmla="*/ 582473 w 582473"/>
                    <a:gd name="connsiteY4" fmla="*/ 0 h 574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473" h="574493">
                      <a:moveTo>
                        <a:pt x="582473" y="0"/>
                      </a:moveTo>
                      <a:lnTo>
                        <a:pt x="582473" y="0"/>
                      </a:lnTo>
                      <a:cubicBezTo>
                        <a:pt x="582473" y="316558"/>
                        <a:pt x="320955" y="574494"/>
                        <a:pt x="0" y="574494"/>
                      </a:cubicBezTo>
                      <a:lnTo>
                        <a:pt x="0" y="574494"/>
                      </a:lnTo>
                      <a:cubicBezTo>
                        <a:pt x="0" y="257936"/>
                        <a:pt x="261519" y="0"/>
                        <a:pt x="582473" y="0"/>
                      </a:cubicBezTo>
                      <a:close/>
                    </a:path>
                  </a:pathLst>
                </a:custGeom>
                <a:solidFill>
                  <a:srgbClr val="FFFFFF"/>
                </a:solidFill>
                <a:ln w="148590" cap="flat">
                  <a:noFill/>
                  <a:prstDash val="solid"/>
                  <a:miter/>
                </a:ln>
              </p:spPr>
              <p:txBody>
                <a:bodyPr rtlCol="0" anchor="ctr"/>
                <a:lstStyle/>
                <a:p>
                  <a:endParaRPr lang="en-AE"/>
                </a:p>
              </p:txBody>
            </p:sp>
            <p:sp>
              <p:nvSpPr>
                <p:cNvPr id="23" name="Freeform 22">
                  <a:extLst>
                    <a:ext uri="{FF2B5EF4-FFF2-40B4-BE49-F238E27FC236}">
                      <a16:creationId xmlns:a16="http://schemas.microsoft.com/office/drawing/2014/main" id="{E98E6853-B7D1-26F0-D939-393CEE9D205D}"/>
                    </a:ext>
                  </a:extLst>
                </p:cNvPr>
                <p:cNvSpPr/>
                <p:nvPr/>
              </p:nvSpPr>
              <p:spPr>
                <a:xfrm rot="6008400">
                  <a:off x="16535446" y="10119861"/>
                  <a:ext cx="582473" cy="574493"/>
                </a:xfrm>
                <a:custGeom>
                  <a:avLst/>
                  <a:gdLst>
                    <a:gd name="connsiteX0" fmla="*/ 0 w 582473"/>
                    <a:gd name="connsiteY0" fmla="*/ 0 h 574493"/>
                    <a:gd name="connsiteX1" fmla="*/ 0 w 582473"/>
                    <a:gd name="connsiteY1" fmla="*/ 0 h 574493"/>
                    <a:gd name="connsiteX2" fmla="*/ 582473 w 582473"/>
                    <a:gd name="connsiteY2" fmla="*/ 574494 h 574493"/>
                    <a:gd name="connsiteX3" fmla="*/ 582473 w 582473"/>
                    <a:gd name="connsiteY3" fmla="*/ 574494 h 574493"/>
                    <a:gd name="connsiteX4" fmla="*/ 0 w 582473"/>
                    <a:gd name="connsiteY4" fmla="*/ 0 h 574493"/>
                    <a:gd name="connsiteX5" fmla="*/ 0 w 582473"/>
                    <a:gd name="connsiteY5" fmla="*/ 0 h 574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2473" h="574493">
                      <a:moveTo>
                        <a:pt x="0" y="0"/>
                      </a:moveTo>
                      <a:lnTo>
                        <a:pt x="0" y="0"/>
                      </a:lnTo>
                      <a:cubicBezTo>
                        <a:pt x="320955" y="0"/>
                        <a:pt x="582473" y="257936"/>
                        <a:pt x="582473" y="574494"/>
                      </a:cubicBezTo>
                      <a:lnTo>
                        <a:pt x="582473" y="574494"/>
                      </a:lnTo>
                      <a:cubicBezTo>
                        <a:pt x="261519" y="574494"/>
                        <a:pt x="0" y="316558"/>
                        <a:pt x="0" y="0"/>
                      </a:cubicBezTo>
                      <a:lnTo>
                        <a:pt x="0" y="0"/>
                      </a:lnTo>
                      <a:close/>
                    </a:path>
                  </a:pathLst>
                </a:custGeom>
                <a:solidFill>
                  <a:srgbClr val="FFFFFF"/>
                </a:solidFill>
                <a:ln w="148590" cap="flat">
                  <a:noFill/>
                  <a:prstDash val="solid"/>
                  <a:miter/>
                </a:ln>
              </p:spPr>
              <p:txBody>
                <a:bodyPr rtlCol="0" anchor="ctr"/>
                <a:lstStyle/>
                <a:p>
                  <a:endParaRPr lang="en-AE"/>
                </a:p>
              </p:txBody>
            </p:sp>
          </p:grpSp>
        </p:grpSp>
        <p:grpSp>
          <p:nvGrpSpPr>
            <p:cNvPr id="24" name="Graphic 5">
              <a:extLst>
                <a:ext uri="{FF2B5EF4-FFF2-40B4-BE49-F238E27FC236}">
                  <a16:creationId xmlns:a16="http://schemas.microsoft.com/office/drawing/2014/main" id="{298FBC41-47CE-610A-53A5-0AAAC9EB8D36}"/>
                </a:ext>
              </a:extLst>
            </p:cNvPr>
            <p:cNvGrpSpPr/>
            <p:nvPr/>
          </p:nvGrpSpPr>
          <p:grpSpPr>
            <a:xfrm>
              <a:off x="16444010" y="636153"/>
              <a:ext cx="1786051" cy="3035546"/>
              <a:chOff x="16444010" y="636153"/>
              <a:chExt cx="1786051" cy="3035546"/>
            </a:xfrm>
          </p:grpSpPr>
          <p:sp>
            <p:nvSpPr>
              <p:cNvPr id="25" name="Freeform 24">
                <a:extLst>
                  <a:ext uri="{FF2B5EF4-FFF2-40B4-BE49-F238E27FC236}">
                    <a16:creationId xmlns:a16="http://schemas.microsoft.com/office/drawing/2014/main" id="{A2E87E03-2E72-6A9A-4F71-6AE309AE5318}"/>
                  </a:ext>
                </a:extLst>
              </p:cNvPr>
              <p:cNvSpPr/>
              <p:nvPr/>
            </p:nvSpPr>
            <p:spPr>
              <a:xfrm>
                <a:off x="17334064" y="1877469"/>
                <a:ext cx="148590" cy="1779171"/>
              </a:xfrm>
              <a:custGeom>
                <a:avLst/>
                <a:gdLst>
                  <a:gd name="connsiteX0" fmla="*/ 0 w 148590"/>
                  <a:gd name="connsiteY0" fmla="*/ 0 h 1779171"/>
                  <a:gd name="connsiteX1" fmla="*/ 0 w 148590"/>
                  <a:gd name="connsiteY1" fmla="*/ 1779172 h 1779171"/>
                </a:gdLst>
                <a:ahLst/>
                <a:cxnLst>
                  <a:cxn ang="0">
                    <a:pos x="connsiteX0" y="connsiteY0"/>
                  </a:cxn>
                  <a:cxn ang="0">
                    <a:pos x="connsiteX1" y="connsiteY1"/>
                  </a:cxn>
                </a:cxnLst>
                <a:rect l="l" t="t" r="r" b="b"/>
                <a:pathLst>
                  <a:path w="148590" h="1779171">
                    <a:moveTo>
                      <a:pt x="0" y="0"/>
                    </a:moveTo>
                    <a:lnTo>
                      <a:pt x="0" y="1779172"/>
                    </a:lnTo>
                  </a:path>
                </a:pathLst>
              </a:custGeom>
              <a:ln w="111443" cap="rnd">
                <a:solidFill>
                  <a:srgbClr val="44352E"/>
                </a:solidFill>
                <a:prstDash val="solid"/>
                <a:miter/>
              </a:ln>
            </p:spPr>
            <p:txBody>
              <a:bodyPr rtlCol="0" anchor="ctr"/>
              <a:lstStyle/>
              <a:p>
                <a:endParaRPr lang="en-AE"/>
              </a:p>
            </p:txBody>
          </p:sp>
          <p:grpSp>
            <p:nvGrpSpPr>
              <p:cNvPr id="26" name="Graphic 5">
                <a:extLst>
                  <a:ext uri="{FF2B5EF4-FFF2-40B4-BE49-F238E27FC236}">
                    <a16:creationId xmlns:a16="http://schemas.microsoft.com/office/drawing/2014/main" id="{E578D632-0E66-EE04-CB6E-E1475ADC0C61}"/>
                  </a:ext>
                </a:extLst>
              </p:cNvPr>
              <p:cNvGrpSpPr/>
              <p:nvPr/>
            </p:nvGrpSpPr>
            <p:grpSpPr>
              <a:xfrm>
                <a:off x="16464708" y="2360041"/>
                <a:ext cx="1746193" cy="1311658"/>
                <a:chOff x="16464708" y="2360041"/>
                <a:chExt cx="1746193" cy="1311658"/>
              </a:xfrm>
              <a:solidFill>
                <a:srgbClr val="8CB984"/>
              </a:solidFill>
            </p:grpSpPr>
            <p:sp>
              <p:nvSpPr>
                <p:cNvPr id="27" name="Freeform 26">
                  <a:extLst>
                    <a:ext uri="{FF2B5EF4-FFF2-40B4-BE49-F238E27FC236}">
                      <a16:creationId xmlns:a16="http://schemas.microsoft.com/office/drawing/2014/main" id="{D71C7B5A-5150-292A-50D6-004DC13E4360}"/>
                    </a:ext>
                  </a:extLst>
                </p:cNvPr>
                <p:cNvSpPr/>
                <p:nvPr/>
              </p:nvSpPr>
              <p:spPr>
                <a:xfrm rot="4791600">
                  <a:off x="16524901" y="2419410"/>
                  <a:ext cx="750379" cy="740100"/>
                </a:xfrm>
                <a:custGeom>
                  <a:avLst/>
                  <a:gdLst>
                    <a:gd name="connsiteX0" fmla="*/ 750380 w 750379"/>
                    <a:gd name="connsiteY0" fmla="*/ 0 h 740100"/>
                    <a:gd name="connsiteX1" fmla="*/ 750380 w 750379"/>
                    <a:gd name="connsiteY1" fmla="*/ 0 h 740100"/>
                    <a:gd name="connsiteX2" fmla="*/ 0 w 750379"/>
                    <a:gd name="connsiteY2" fmla="*/ 740101 h 740100"/>
                    <a:gd name="connsiteX3" fmla="*/ 0 w 750379"/>
                    <a:gd name="connsiteY3" fmla="*/ 740101 h 740100"/>
                    <a:gd name="connsiteX4" fmla="*/ 750380 w 750379"/>
                    <a:gd name="connsiteY4" fmla="*/ 0 h 74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379" h="740100">
                      <a:moveTo>
                        <a:pt x="750380" y="0"/>
                      </a:moveTo>
                      <a:lnTo>
                        <a:pt x="750380" y="0"/>
                      </a:lnTo>
                      <a:cubicBezTo>
                        <a:pt x="750380" y="408887"/>
                        <a:pt x="414566" y="740101"/>
                        <a:pt x="0" y="740101"/>
                      </a:cubicBezTo>
                      <a:lnTo>
                        <a:pt x="0" y="740101"/>
                      </a:lnTo>
                      <a:cubicBezTo>
                        <a:pt x="0" y="331213"/>
                        <a:pt x="335814" y="0"/>
                        <a:pt x="750380" y="0"/>
                      </a:cubicBezTo>
                      <a:close/>
                    </a:path>
                  </a:pathLst>
                </a:custGeom>
                <a:solidFill>
                  <a:srgbClr val="8CB984"/>
                </a:solidFill>
                <a:ln w="148590" cap="flat">
                  <a:noFill/>
                  <a:prstDash val="solid"/>
                  <a:miter/>
                </a:ln>
              </p:spPr>
              <p:txBody>
                <a:bodyPr rtlCol="0" anchor="ctr"/>
                <a:lstStyle/>
                <a:p>
                  <a:endParaRPr lang="en-AE"/>
                </a:p>
              </p:txBody>
            </p:sp>
            <p:sp>
              <p:nvSpPr>
                <p:cNvPr id="28" name="Freeform 27">
                  <a:extLst>
                    <a:ext uri="{FF2B5EF4-FFF2-40B4-BE49-F238E27FC236}">
                      <a16:creationId xmlns:a16="http://schemas.microsoft.com/office/drawing/2014/main" id="{B1F785EA-C9AD-331A-A064-4822DF094329}"/>
                    </a:ext>
                  </a:extLst>
                </p:cNvPr>
                <p:cNvSpPr/>
                <p:nvPr/>
              </p:nvSpPr>
              <p:spPr>
                <a:xfrm rot="6008400">
                  <a:off x="17400329" y="2872230"/>
                  <a:ext cx="750379" cy="740100"/>
                </a:xfrm>
                <a:custGeom>
                  <a:avLst/>
                  <a:gdLst>
                    <a:gd name="connsiteX0" fmla="*/ 0 w 750379"/>
                    <a:gd name="connsiteY0" fmla="*/ 0 h 740100"/>
                    <a:gd name="connsiteX1" fmla="*/ 0 w 750379"/>
                    <a:gd name="connsiteY1" fmla="*/ 0 h 740100"/>
                    <a:gd name="connsiteX2" fmla="*/ 750380 w 750379"/>
                    <a:gd name="connsiteY2" fmla="*/ 740101 h 740100"/>
                    <a:gd name="connsiteX3" fmla="*/ 750380 w 750379"/>
                    <a:gd name="connsiteY3" fmla="*/ 740101 h 740100"/>
                    <a:gd name="connsiteX4" fmla="*/ 0 w 750379"/>
                    <a:gd name="connsiteY4" fmla="*/ 0 h 740100"/>
                    <a:gd name="connsiteX5" fmla="*/ 0 w 750379"/>
                    <a:gd name="connsiteY5" fmla="*/ 0 h 74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0379" h="740100">
                      <a:moveTo>
                        <a:pt x="0" y="0"/>
                      </a:moveTo>
                      <a:lnTo>
                        <a:pt x="0" y="0"/>
                      </a:lnTo>
                      <a:cubicBezTo>
                        <a:pt x="414566" y="0"/>
                        <a:pt x="750380" y="331213"/>
                        <a:pt x="750380" y="740101"/>
                      </a:cubicBezTo>
                      <a:lnTo>
                        <a:pt x="750380" y="740101"/>
                      </a:lnTo>
                      <a:cubicBezTo>
                        <a:pt x="335813" y="740101"/>
                        <a:pt x="0" y="408887"/>
                        <a:pt x="0" y="0"/>
                      </a:cubicBezTo>
                      <a:lnTo>
                        <a:pt x="0" y="0"/>
                      </a:lnTo>
                      <a:close/>
                    </a:path>
                  </a:pathLst>
                </a:custGeom>
                <a:solidFill>
                  <a:srgbClr val="8CB984"/>
                </a:solidFill>
                <a:ln w="148590" cap="flat">
                  <a:noFill/>
                  <a:prstDash val="solid"/>
                  <a:miter/>
                </a:ln>
              </p:spPr>
              <p:txBody>
                <a:bodyPr rtlCol="0" anchor="ctr"/>
                <a:lstStyle/>
                <a:p>
                  <a:endParaRPr lang="en-AE"/>
                </a:p>
              </p:txBody>
            </p:sp>
          </p:grpSp>
          <p:sp>
            <p:nvSpPr>
              <p:cNvPr id="29" name="Freeform 28">
                <a:extLst>
                  <a:ext uri="{FF2B5EF4-FFF2-40B4-BE49-F238E27FC236}">
                    <a16:creationId xmlns:a16="http://schemas.microsoft.com/office/drawing/2014/main" id="{17223FC0-8C7D-064F-D92C-D6995DF1BB26}"/>
                  </a:ext>
                </a:extLst>
              </p:cNvPr>
              <p:cNvSpPr/>
              <p:nvPr/>
            </p:nvSpPr>
            <p:spPr>
              <a:xfrm>
                <a:off x="16444010" y="636153"/>
                <a:ext cx="1786051" cy="1761585"/>
              </a:xfrm>
              <a:custGeom>
                <a:avLst/>
                <a:gdLst>
                  <a:gd name="connsiteX0" fmla="*/ 1784566 w 1786051"/>
                  <a:gd name="connsiteY0" fmla="*/ 882258 h 1761585"/>
                  <a:gd name="connsiteX1" fmla="*/ 1690954 w 1786051"/>
                  <a:gd name="connsiteY1" fmla="*/ 791394 h 1761585"/>
                  <a:gd name="connsiteX2" fmla="*/ 1356627 w 1786051"/>
                  <a:gd name="connsiteY2" fmla="*/ 791394 h 1761585"/>
                  <a:gd name="connsiteX3" fmla="*/ 1665694 w 1786051"/>
                  <a:gd name="connsiteY3" fmla="*/ 665358 h 1761585"/>
                  <a:gd name="connsiteX4" fmla="*/ 1716215 w 1786051"/>
                  <a:gd name="connsiteY4" fmla="*/ 545183 h 1761585"/>
                  <a:gd name="connsiteX5" fmla="*/ 1630032 w 1786051"/>
                  <a:gd name="connsiteY5" fmla="*/ 489492 h 1761585"/>
                  <a:gd name="connsiteX6" fmla="*/ 1594371 w 1786051"/>
                  <a:gd name="connsiteY6" fmla="*/ 496820 h 1761585"/>
                  <a:gd name="connsiteX7" fmla="*/ 1285304 w 1786051"/>
                  <a:gd name="connsiteY7" fmla="*/ 622857 h 1761585"/>
                  <a:gd name="connsiteX8" fmla="*/ 1521562 w 1786051"/>
                  <a:gd name="connsiteY8" fmla="*/ 389835 h 1761585"/>
                  <a:gd name="connsiteX9" fmla="*/ 1548308 w 1786051"/>
                  <a:gd name="connsiteY9" fmla="*/ 325351 h 1761585"/>
                  <a:gd name="connsiteX10" fmla="*/ 1521562 w 1786051"/>
                  <a:gd name="connsiteY10" fmla="*/ 260867 h 1761585"/>
                  <a:gd name="connsiteX11" fmla="*/ 1390802 w 1786051"/>
                  <a:gd name="connsiteY11" fmla="*/ 260867 h 1761585"/>
                  <a:gd name="connsiteX12" fmla="*/ 1154544 w 1786051"/>
                  <a:gd name="connsiteY12" fmla="*/ 493889 h 1761585"/>
                  <a:gd name="connsiteX13" fmla="*/ 1282332 w 1786051"/>
                  <a:gd name="connsiteY13" fmla="*/ 189055 h 1761585"/>
                  <a:gd name="connsiteX14" fmla="*/ 1289761 w 1786051"/>
                  <a:gd name="connsiteY14" fmla="*/ 153882 h 1761585"/>
                  <a:gd name="connsiteX15" fmla="*/ 1233297 w 1786051"/>
                  <a:gd name="connsiteY15" fmla="*/ 68881 h 1761585"/>
                  <a:gd name="connsiteX16" fmla="*/ 1111453 w 1786051"/>
                  <a:gd name="connsiteY16" fmla="*/ 118709 h 1761585"/>
                  <a:gd name="connsiteX17" fmla="*/ 983666 w 1786051"/>
                  <a:gd name="connsiteY17" fmla="*/ 423543 h 1761585"/>
                  <a:gd name="connsiteX18" fmla="*/ 983666 w 1786051"/>
                  <a:gd name="connsiteY18" fmla="*/ 90864 h 1761585"/>
                  <a:gd name="connsiteX19" fmla="*/ 891540 w 1786051"/>
                  <a:gd name="connsiteY19" fmla="*/ 0 h 1761585"/>
                  <a:gd name="connsiteX20" fmla="*/ 799414 w 1786051"/>
                  <a:gd name="connsiteY20" fmla="*/ 90864 h 1761585"/>
                  <a:gd name="connsiteX21" fmla="*/ 799414 w 1786051"/>
                  <a:gd name="connsiteY21" fmla="*/ 420611 h 1761585"/>
                  <a:gd name="connsiteX22" fmla="*/ 671627 w 1786051"/>
                  <a:gd name="connsiteY22" fmla="*/ 115778 h 1761585"/>
                  <a:gd name="connsiteX23" fmla="*/ 549783 w 1786051"/>
                  <a:gd name="connsiteY23" fmla="*/ 65950 h 1761585"/>
                  <a:gd name="connsiteX24" fmla="*/ 491833 w 1786051"/>
                  <a:gd name="connsiteY24" fmla="*/ 150951 h 1761585"/>
                  <a:gd name="connsiteX25" fmla="*/ 499262 w 1786051"/>
                  <a:gd name="connsiteY25" fmla="*/ 186124 h 1761585"/>
                  <a:gd name="connsiteX26" fmla="*/ 627050 w 1786051"/>
                  <a:gd name="connsiteY26" fmla="*/ 490958 h 1761585"/>
                  <a:gd name="connsiteX27" fmla="*/ 390792 w 1786051"/>
                  <a:gd name="connsiteY27" fmla="*/ 257936 h 1761585"/>
                  <a:gd name="connsiteX28" fmla="*/ 325412 w 1786051"/>
                  <a:gd name="connsiteY28" fmla="*/ 231556 h 1761585"/>
                  <a:gd name="connsiteX29" fmla="*/ 260033 w 1786051"/>
                  <a:gd name="connsiteY29" fmla="*/ 257936 h 1761585"/>
                  <a:gd name="connsiteX30" fmla="*/ 260033 w 1786051"/>
                  <a:gd name="connsiteY30" fmla="*/ 388370 h 1761585"/>
                  <a:gd name="connsiteX31" fmla="*/ 496291 w 1786051"/>
                  <a:gd name="connsiteY31" fmla="*/ 621391 h 1761585"/>
                  <a:gd name="connsiteX32" fmla="*/ 188709 w 1786051"/>
                  <a:gd name="connsiteY32" fmla="*/ 495354 h 1761585"/>
                  <a:gd name="connsiteX33" fmla="*/ 153048 w 1786051"/>
                  <a:gd name="connsiteY33" fmla="*/ 488027 h 1761585"/>
                  <a:gd name="connsiteX34" fmla="*/ 66866 w 1786051"/>
                  <a:gd name="connsiteY34" fmla="*/ 543717 h 1761585"/>
                  <a:gd name="connsiteX35" fmla="*/ 117386 w 1786051"/>
                  <a:gd name="connsiteY35" fmla="*/ 663892 h 1761585"/>
                  <a:gd name="connsiteX36" fmla="*/ 426453 w 1786051"/>
                  <a:gd name="connsiteY36" fmla="*/ 789929 h 1761585"/>
                  <a:gd name="connsiteX37" fmla="*/ 92126 w 1786051"/>
                  <a:gd name="connsiteY37" fmla="*/ 789929 h 1761585"/>
                  <a:gd name="connsiteX38" fmla="*/ 0 w 1786051"/>
                  <a:gd name="connsiteY38" fmla="*/ 880793 h 1761585"/>
                  <a:gd name="connsiteX39" fmla="*/ 92126 w 1786051"/>
                  <a:gd name="connsiteY39" fmla="*/ 971657 h 1761585"/>
                  <a:gd name="connsiteX40" fmla="*/ 426453 w 1786051"/>
                  <a:gd name="connsiteY40" fmla="*/ 971657 h 1761585"/>
                  <a:gd name="connsiteX41" fmla="*/ 117386 w 1786051"/>
                  <a:gd name="connsiteY41" fmla="*/ 1097693 h 1761585"/>
                  <a:gd name="connsiteX42" fmla="*/ 66866 w 1786051"/>
                  <a:gd name="connsiteY42" fmla="*/ 1217868 h 1761585"/>
                  <a:gd name="connsiteX43" fmla="*/ 188709 w 1786051"/>
                  <a:gd name="connsiteY43" fmla="*/ 1267697 h 1761585"/>
                  <a:gd name="connsiteX44" fmla="*/ 496291 w 1786051"/>
                  <a:gd name="connsiteY44" fmla="*/ 1141660 h 1761585"/>
                  <a:gd name="connsiteX45" fmla="*/ 260033 w 1786051"/>
                  <a:gd name="connsiteY45" fmla="*/ 1374681 h 1761585"/>
                  <a:gd name="connsiteX46" fmla="*/ 260033 w 1786051"/>
                  <a:gd name="connsiteY46" fmla="*/ 1505115 h 1761585"/>
                  <a:gd name="connsiteX47" fmla="*/ 390792 w 1786051"/>
                  <a:gd name="connsiteY47" fmla="*/ 1505115 h 1761585"/>
                  <a:gd name="connsiteX48" fmla="*/ 627050 w 1786051"/>
                  <a:gd name="connsiteY48" fmla="*/ 1272093 h 1761585"/>
                  <a:gd name="connsiteX49" fmla="*/ 499262 w 1786051"/>
                  <a:gd name="connsiteY49" fmla="*/ 1575461 h 1761585"/>
                  <a:gd name="connsiteX50" fmla="*/ 549783 w 1786051"/>
                  <a:gd name="connsiteY50" fmla="*/ 1695636 h 1761585"/>
                  <a:gd name="connsiteX51" fmla="*/ 671627 w 1786051"/>
                  <a:gd name="connsiteY51" fmla="*/ 1645807 h 1761585"/>
                  <a:gd name="connsiteX52" fmla="*/ 799414 w 1786051"/>
                  <a:gd name="connsiteY52" fmla="*/ 1340974 h 1761585"/>
                  <a:gd name="connsiteX53" fmla="*/ 799414 w 1786051"/>
                  <a:gd name="connsiteY53" fmla="*/ 1670722 h 1761585"/>
                  <a:gd name="connsiteX54" fmla="*/ 891540 w 1786051"/>
                  <a:gd name="connsiteY54" fmla="*/ 1761585 h 1761585"/>
                  <a:gd name="connsiteX55" fmla="*/ 983666 w 1786051"/>
                  <a:gd name="connsiteY55" fmla="*/ 1670722 h 1761585"/>
                  <a:gd name="connsiteX56" fmla="*/ 983666 w 1786051"/>
                  <a:gd name="connsiteY56" fmla="*/ 1340974 h 1761585"/>
                  <a:gd name="connsiteX57" fmla="*/ 1111453 w 1786051"/>
                  <a:gd name="connsiteY57" fmla="*/ 1645807 h 1761585"/>
                  <a:gd name="connsiteX58" fmla="*/ 1233297 w 1786051"/>
                  <a:gd name="connsiteY58" fmla="*/ 1695636 h 1761585"/>
                  <a:gd name="connsiteX59" fmla="*/ 1283818 w 1786051"/>
                  <a:gd name="connsiteY59" fmla="*/ 1575461 h 1761585"/>
                  <a:gd name="connsiteX60" fmla="*/ 1156030 w 1786051"/>
                  <a:gd name="connsiteY60" fmla="*/ 1272093 h 1761585"/>
                  <a:gd name="connsiteX61" fmla="*/ 1392288 w 1786051"/>
                  <a:gd name="connsiteY61" fmla="*/ 1505115 h 1761585"/>
                  <a:gd name="connsiteX62" fmla="*/ 1523048 w 1786051"/>
                  <a:gd name="connsiteY62" fmla="*/ 1505115 h 1761585"/>
                  <a:gd name="connsiteX63" fmla="*/ 1523048 w 1786051"/>
                  <a:gd name="connsiteY63" fmla="*/ 1374681 h 1761585"/>
                  <a:gd name="connsiteX64" fmla="*/ 1286789 w 1786051"/>
                  <a:gd name="connsiteY64" fmla="*/ 1141660 h 1761585"/>
                  <a:gd name="connsiteX65" fmla="*/ 1595857 w 1786051"/>
                  <a:gd name="connsiteY65" fmla="*/ 1267697 h 1761585"/>
                  <a:gd name="connsiteX66" fmla="*/ 1717701 w 1786051"/>
                  <a:gd name="connsiteY66" fmla="*/ 1217868 h 1761585"/>
                  <a:gd name="connsiteX67" fmla="*/ 1667180 w 1786051"/>
                  <a:gd name="connsiteY67" fmla="*/ 1097693 h 1761585"/>
                  <a:gd name="connsiteX68" fmla="*/ 1358113 w 1786051"/>
                  <a:gd name="connsiteY68" fmla="*/ 971657 h 1761585"/>
                  <a:gd name="connsiteX69" fmla="*/ 1692440 w 1786051"/>
                  <a:gd name="connsiteY69" fmla="*/ 971657 h 1761585"/>
                  <a:gd name="connsiteX70" fmla="*/ 1786052 w 1786051"/>
                  <a:gd name="connsiteY70" fmla="*/ 880793 h 1761585"/>
                  <a:gd name="connsiteX71" fmla="*/ 890054 w 1786051"/>
                  <a:gd name="connsiteY71" fmla="*/ 1106487 h 1761585"/>
                  <a:gd name="connsiteX72" fmla="*/ 662711 w 1786051"/>
                  <a:gd name="connsiteY72" fmla="*/ 882258 h 1761585"/>
                  <a:gd name="connsiteX73" fmla="*/ 890054 w 1786051"/>
                  <a:gd name="connsiteY73" fmla="*/ 658030 h 1761585"/>
                  <a:gd name="connsiteX74" fmla="*/ 1117397 w 1786051"/>
                  <a:gd name="connsiteY74" fmla="*/ 882258 h 1761585"/>
                  <a:gd name="connsiteX75" fmla="*/ 890054 w 1786051"/>
                  <a:gd name="connsiteY75" fmla="*/ 1106487 h 176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786051" h="1761585">
                    <a:moveTo>
                      <a:pt x="1784566" y="882258"/>
                    </a:moveTo>
                    <a:cubicBezTo>
                      <a:pt x="1784566" y="832430"/>
                      <a:pt x="1742961" y="791394"/>
                      <a:pt x="1690954" y="791394"/>
                    </a:cubicBezTo>
                    <a:lnTo>
                      <a:pt x="1356627" y="791394"/>
                    </a:lnTo>
                    <a:lnTo>
                      <a:pt x="1665694" y="665358"/>
                    </a:lnTo>
                    <a:cubicBezTo>
                      <a:pt x="1713243" y="646305"/>
                      <a:pt x="1735531" y="592080"/>
                      <a:pt x="1716215" y="545183"/>
                    </a:cubicBezTo>
                    <a:cubicBezTo>
                      <a:pt x="1701356" y="510010"/>
                      <a:pt x="1667180" y="489492"/>
                      <a:pt x="1630032" y="489492"/>
                    </a:cubicBezTo>
                    <a:cubicBezTo>
                      <a:pt x="1618145" y="489492"/>
                      <a:pt x="1606258" y="492423"/>
                      <a:pt x="1594371" y="496820"/>
                    </a:cubicBezTo>
                    <a:lnTo>
                      <a:pt x="1285304" y="622857"/>
                    </a:lnTo>
                    <a:lnTo>
                      <a:pt x="1521562" y="389835"/>
                    </a:lnTo>
                    <a:cubicBezTo>
                      <a:pt x="1539392" y="372248"/>
                      <a:pt x="1548308" y="348800"/>
                      <a:pt x="1548308" y="325351"/>
                    </a:cubicBezTo>
                    <a:cubicBezTo>
                      <a:pt x="1548308" y="301902"/>
                      <a:pt x="1539392" y="278454"/>
                      <a:pt x="1521562" y="260867"/>
                    </a:cubicBezTo>
                    <a:cubicBezTo>
                      <a:pt x="1485900" y="225694"/>
                      <a:pt x="1426464" y="225694"/>
                      <a:pt x="1390802" y="260867"/>
                    </a:cubicBezTo>
                    <a:lnTo>
                      <a:pt x="1154544" y="493889"/>
                    </a:lnTo>
                    <a:lnTo>
                      <a:pt x="1282332" y="189055"/>
                    </a:lnTo>
                    <a:cubicBezTo>
                      <a:pt x="1286789" y="177331"/>
                      <a:pt x="1289761" y="165607"/>
                      <a:pt x="1289761" y="153882"/>
                    </a:cubicBezTo>
                    <a:cubicBezTo>
                      <a:pt x="1289761" y="118709"/>
                      <a:pt x="1268959" y="83536"/>
                      <a:pt x="1233297" y="68881"/>
                    </a:cubicBezTo>
                    <a:cubicBezTo>
                      <a:pt x="1185748" y="49829"/>
                      <a:pt x="1132256" y="71812"/>
                      <a:pt x="1111453" y="118709"/>
                    </a:cubicBezTo>
                    <a:lnTo>
                      <a:pt x="983666" y="423543"/>
                    </a:lnTo>
                    <a:lnTo>
                      <a:pt x="983666" y="90864"/>
                    </a:lnTo>
                    <a:cubicBezTo>
                      <a:pt x="983666" y="41035"/>
                      <a:pt x="942061" y="0"/>
                      <a:pt x="891540" y="0"/>
                    </a:cubicBezTo>
                    <a:cubicBezTo>
                      <a:pt x="841019" y="0"/>
                      <a:pt x="799414" y="41035"/>
                      <a:pt x="799414" y="90864"/>
                    </a:cubicBezTo>
                    <a:lnTo>
                      <a:pt x="799414" y="420611"/>
                    </a:lnTo>
                    <a:lnTo>
                      <a:pt x="671627" y="115778"/>
                    </a:lnTo>
                    <a:cubicBezTo>
                      <a:pt x="652310" y="68881"/>
                      <a:pt x="597332" y="46897"/>
                      <a:pt x="549783" y="65950"/>
                    </a:cubicBezTo>
                    <a:cubicBezTo>
                      <a:pt x="514121" y="80605"/>
                      <a:pt x="491833" y="114313"/>
                      <a:pt x="491833" y="150951"/>
                    </a:cubicBezTo>
                    <a:cubicBezTo>
                      <a:pt x="491833" y="162676"/>
                      <a:pt x="494805" y="174400"/>
                      <a:pt x="499262" y="186124"/>
                    </a:cubicBezTo>
                    <a:lnTo>
                      <a:pt x="627050" y="490958"/>
                    </a:lnTo>
                    <a:lnTo>
                      <a:pt x="390792" y="257936"/>
                    </a:lnTo>
                    <a:cubicBezTo>
                      <a:pt x="372961" y="240349"/>
                      <a:pt x="349187" y="231556"/>
                      <a:pt x="325412" y="231556"/>
                    </a:cubicBezTo>
                    <a:cubicBezTo>
                      <a:pt x="301638" y="231556"/>
                      <a:pt x="277863" y="240349"/>
                      <a:pt x="260033" y="257936"/>
                    </a:cubicBezTo>
                    <a:cubicBezTo>
                      <a:pt x="224371" y="293109"/>
                      <a:pt x="224371" y="351731"/>
                      <a:pt x="260033" y="388370"/>
                    </a:cubicBezTo>
                    <a:lnTo>
                      <a:pt x="496291" y="621391"/>
                    </a:lnTo>
                    <a:lnTo>
                      <a:pt x="188709" y="495354"/>
                    </a:lnTo>
                    <a:cubicBezTo>
                      <a:pt x="176822" y="490958"/>
                      <a:pt x="164935" y="488027"/>
                      <a:pt x="153048" y="488027"/>
                    </a:cubicBezTo>
                    <a:cubicBezTo>
                      <a:pt x="117386" y="488027"/>
                      <a:pt x="81725" y="508544"/>
                      <a:pt x="66866" y="543717"/>
                    </a:cubicBezTo>
                    <a:cubicBezTo>
                      <a:pt x="47549" y="590615"/>
                      <a:pt x="69837" y="643374"/>
                      <a:pt x="117386" y="663892"/>
                    </a:cubicBezTo>
                    <a:lnTo>
                      <a:pt x="426453" y="789929"/>
                    </a:lnTo>
                    <a:lnTo>
                      <a:pt x="92126" y="789929"/>
                    </a:lnTo>
                    <a:cubicBezTo>
                      <a:pt x="41605" y="789929"/>
                      <a:pt x="0" y="830964"/>
                      <a:pt x="0" y="880793"/>
                    </a:cubicBezTo>
                    <a:cubicBezTo>
                      <a:pt x="0" y="930621"/>
                      <a:pt x="41605" y="971657"/>
                      <a:pt x="92126" y="971657"/>
                    </a:cubicBezTo>
                    <a:lnTo>
                      <a:pt x="426453" y="971657"/>
                    </a:lnTo>
                    <a:lnTo>
                      <a:pt x="117386" y="1097693"/>
                    </a:lnTo>
                    <a:cubicBezTo>
                      <a:pt x="69837" y="1116745"/>
                      <a:pt x="47549" y="1170971"/>
                      <a:pt x="66866" y="1217868"/>
                    </a:cubicBezTo>
                    <a:cubicBezTo>
                      <a:pt x="86182" y="1264766"/>
                      <a:pt x="141160" y="1286749"/>
                      <a:pt x="188709" y="1267697"/>
                    </a:cubicBezTo>
                    <a:lnTo>
                      <a:pt x="496291" y="1141660"/>
                    </a:lnTo>
                    <a:lnTo>
                      <a:pt x="260033" y="1374681"/>
                    </a:lnTo>
                    <a:cubicBezTo>
                      <a:pt x="224371" y="1409855"/>
                      <a:pt x="224371" y="1468476"/>
                      <a:pt x="260033" y="1505115"/>
                    </a:cubicBezTo>
                    <a:cubicBezTo>
                      <a:pt x="295694" y="1541754"/>
                      <a:pt x="355130" y="1540288"/>
                      <a:pt x="390792" y="1505115"/>
                    </a:cubicBezTo>
                    <a:lnTo>
                      <a:pt x="627050" y="1272093"/>
                    </a:lnTo>
                    <a:lnTo>
                      <a:pt x="499262" y="1575461"/>
                    </a:lnTo>
                    <a:cubicBezTo>
                      <a:pt x="479946" y="1622359"/>
                      <a:pt x="502234" y="1675118"/>
                      <a:pt x="549783" y="1695636"/>
                    </a:cubicBezTo>
                    <a:cubicBezTo>
                      <a:pt x="597332" y="1714688"/>
                      <a:pt x="650824" y="1692705"/>
                      <a:pt x="671627" y="1645807"/>
                    </a:cubicBezTo>
                    <a:lnTo>
                      <a:pt x="799414" y="1340974"/>
                    </a:lnTo>
                    <a:lnTo>
                      <a:pt x="799414" y="1670722"/>
                    </a:lnTo>
                    <a:cubicBezTo>
                      <a:pt x="799414" y="1720550"/>
                      <a:pt x="841019" y="1761585"/>
                      <a:pt x="891540" y="1761585"/>
                    </a:cubicBezTo>
                    <a:cubicBezTo>
                      <a:pt x="942061" y="1761585"/>
                      <a:pt x="983666" y="1720550"/>
                      <a:pt x="983666" y="1670722"/>
                    </a:cubicBezTo>
                    <a:lnTo>
                      <a:pt x="983666" y="1340974"/>
                    </a:lnTo>
                    <a:lnTo>
                      <a:pt x="1111453" y="1645807"/>
                    </a:lnTo>
                    <a:cubicBezTo>
                      <a:pt x="1130770" y="1692705"/>
                      <a:pt x="1185748" y="1714688"/>
                      <a:pt x="1233297" y="1695636"/>
                    </a:cubicBezTo>
                    <a:cubicBezTo>
                      <a:pt x="1280846" y="1675118"/>
                      <a:pt x="1303134" y="1622359"/>
                      <a:pt x="1283818" y="1575461"/>
                    </a:cubicBezTo>
                    <a:lnTo>
                      <a:pt x="1156030" y="1272093"/>
                    </a:lnTo>
                    <a:lnTo>
                      <a:pt x="1392288" y="1505115"/>
                    </a:lnTo>
                    <a:cubicBezTo>
                      <a:pt x="1427950" y="1540288"/>
                      <a:pt x="1487386" y="1540288"/>
                      <a:pt x="1523048" y="1505115"/>
                    </a:cubicBezTo>
                    <a:cubicBezTo>
                      <a:pt x="1558709" y="1469942"/>
                      <a:pt x="1558709" y="1411320"/>
                      <a:pt x="1523048" y="1374681"/>
                    </a:cubicBezTo>
                    <a:lnTo>
                      <a:pt x="1286789" y="1141660"/>
                    </a:lnTo>
                    <a:lnTo>
                      <a:pt x="1595857" y="1267697"/>
                    </a:lnTo>
                    <a:cubicBezTo>
                      <a:pt x="1643406" y="1286749"/>
                      <a:pt x="1696898" y="1264766"/>
                      <a:pt x="1717701" y="1217868"/>
                    </a:cubicBezTo>
                    <a:cubicBezTo>
                      <a:pt x="1737017" y="1170971"/>
                      <a:pt x="1714729" y="1118211"/>
                      <a:pt x="1667180" y="1097693"/>
                    </a:cubicBezTo>
                    <a:lnTo>
                      <a:pt x="1358113" y="971657"/>
                    </a:lnTo>
                    <a:lnTo>
                      <a:pt x="1692440" y="971657"/>
                    </a:lnTo>
                    <a:cubicBezTo>
                      <a:pt x="1744447" y="971657"/>
                      <a:pt x="1786052" y="930621"/>
                      <a:pt x="1786052" y="880793"/>
                    </a:cubicBezTo>
                    <a:close/>
                    <a:moveTo>
                      <a:pt x="890054" y="1106487"/>
                    </a:moveTo>
                    <a:cubicBezTo>
                      <a:pt x="763753" y="1106487"/>
                      <a:pt x="662711" y="1005364"/>
                      <a:pt x="662711" y="882258"/>
                    </a:cubicBezTo>
                    <a:cubicBezTo>
                      <a:pt x="662711" y="759152"/>
                      <a:pt x="765239" y="658030"/>
                      <a:pt x="890054" y="658030"/>
                    </a:cubicBezTo>
                    <a:cubicBezTo>
                      <a:pt x="1014870" y="658030"/>
                      <a:pt x="1117397" y="759152"/>
                      <a:pt x="1117397" y="882258"/>
                    </a:cubicBezTo>
                    <a:cubicBezTo>
                      <a:pt x="1117397" y="1005364"/>
                      <a:pt x="1014870" y="1106487"/>
                      <a:pt x="890054" y="1106487"/>
                    </a:cubicBezTo>
                    <a:close/>
                  </a:path>
                </a:pathLst>
              </a:custGeom>
              <a:solidFill>
                <a:srgbClr val="8F7CC1"/>
              </a:solidFill>
              <a:ln w="148590" cap="flat">
                <a:noFill/>
                <a:prstDash val="solid"/>
                <a:miter/>
              </a:ln>
            </p:spPr>
            <p:txBody>
              <a:bodyPr rtlCol="0" anchor="ctr"/>
              <a:lstStyle/>
              <a:p>
                <a:pPr algn="l" rtl="0"/>
                <a:endParaRPr lang="en-AE"/>
              </a:p>
            </p:txBody>
          </p:sp>
        </p:grpSp>
      </p:grpSp>
    </p:spTree>
    <p:extLst>
      <p:ext uri="{BB962C8B-B14F-4D97-AF65-F5344CB8AC3E}">
        <p14:creationId xmlns:p14="http://schemas.microsoft.com/office/powerpoint/2010/main" val="22691905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3662DC6D-8449-E4E5-B848-64A1C103A655}"/>
              </a:ext>
            </a:extLst>
          </p:cNvPr>
          <p:cNvSpPr txBox="1">
            <a:spLocks/>
          </p:cNvSpPr>
          <p:nvPr/>
        </p:nvSpPr>
        <p:spPr>
          <a:xfrm>
            <a:off x="679449" y="681026"/>
            <a:ext cx="12801600" cy="567463"/>
          </a:xfrm>
          <a:prstGeom prst="rect">
            <a:avLst/>
          </a:prstGeom>
        </p:spPr>
        <p:txBody>
          <a:bodyPr vert="horz" wrap="square" lIns="0" tIns="1333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nSpc>
                <a:spcPct val="100000"/>
              </a:lnSpc>
              <a:spcBef>
                <a:spcPts val="1630"/>
              </a:spcBef>
            </a:pPr>
            <a:r>
              <a:rPr lang="en-US" sz="3600" b="1">
                <a:solidFill>
                  <a:srgbClr val="1F2055"/>
                </a:solidFill>
                <a:latin typeface="Tahoma"/>
                <a:cs typeface="Tahoma"/>
              </a:rPr>
              <a:t>ROLES AND RESPONSIBILITIES</a:t>
            </a:r>
            <a:endParaRPr lang="en-US" sz="3600">
              <a:latin typeface="Tahoma"/>
              <a:cs typeface="Tahoma"/>
            </a:endParaRPr>
          </a:p>
        </p:txBody>
      </p:sp>
      <p:sp>
        <p:nvSpPr>
          <p:cNvPr id="5" name="object 22">
            <a:extLst>
              <a:ext uri="{FF2B5EF4-FFF2-40B4-BE49-F238E27FC236}">
                <a16:creationId xmlns:a16="http://schemas.microsoft.com/office/drawing/2014/main" id="{26CAB5F2-59FD-BA76-DAF8-867D06D331E6}"/>
              </a:ext>
            </a:extLst>
          </p:cNvPr>
          <p:cNvSpPr txBox="1"/>
          <p:nvPr/>
        </p:nvSpPr>
        <p:spPr>
          <a:xfrm>
            <a:off x="9893067" y="62117"/>
            <a:ext cx="9995760" cy="11061361"/>
          </a:xfrm>
          <a:prstGeom prst="rect">
            <a:avLst/>
          </a:prstGeom>
          <a:noFill/>
        </p:spPr>
        <p:txBody>
          <a:bodyPr vert="horz" wrap="square" lIns="0" tIns="12065" rIns="0" bIns="0" numCol="1" rtlCol="0" anchor="t">
            <a:spAutoFit/>
          </a:bodyPr>
          <a:lstStyle/>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dirty="0">
                <a:solidFill>
                  <a:srgbClr val="666666"/>
                </a:solidFill>
              </a:rPr>
              <a:t>Receive and review reports of concerns that threaten the child or his/her physical, psychological, moral or mental safety or safety, including student maltreatment.</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dirty="0">
                <a:solidFill>
                  <a:srgbClr val="666666"/>
                </a:solidFill>
              </a:rPr>
              <a:t>Implement appropriate preventive measures to protect the child subject to the report.</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dirty="0">
                <a:solidFill>
                  <a:srgbClr val="666666"/>
                </a:solidFill>
              </a:rPr>
              <a:t>Develop suitable preventive plans within the jurisdiction of educational entities, providing consultation and support to families and children subjected to maltreatment, or violence, or exploitation and introducing them to effective educational foundations for dealing with children</a:t>
            </a:r>
          </a:p>
          <a:p>
            <a:pPr marL="354965" marR="60960" indent="-342900" rtl="0">
              <a:spcBef>
                <a:spcPts val="600"/>
              </a:spcBef>
              <a:buFont typeface="Arial"/>
              <a:buChar char="•"/>
              <a:tabLst>
                <a:tab pos="221615" algn="l"/>
                <a:tab pos="222250" algn="l"/>
              </a:tabLst>
              <a:defRPr/>
            </a:pPr>
            <a:r>
              <a:rPr lang="en-US" dirty="0">
                <a:solidFill>
                  <a:srgbClr val="666666"/>
                </a:solidFill>
              </a:rPr>
              <a:t>Coordinate with relevant entities to provide psychological, social and health treatment for children who have been exposed to anything that threatens the child or threatens his/her physical, psychological, moral or mental safety or safety, including maltreatment.</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dirty="0">
                <a:solidFill>
                  <a:srgbClr val="666666"/>
                </a:solidFill>
              </a:rPr>
              <a:t>Follow-up with families and children throughout the protection process, provide them with the necessary requirements, assess their conditions to determine the progress of their case, and provide them with necessary recommendations in collaboration with the FCA.</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dirty="0">
                <a:solidFill>
                  <a:srgbClr val="666666"/>
                </a:solidFill>
              </a:rPr>
              <a:t>Coordinate with relevant entities and specialized departments to search and investigate missing children from their families and residences. </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dirty="0">
                <a:solidFill>
                  <a:srgbClr val="666666"/>
                </a:solidFill>
              </a:rPr>
              <a:t>Take the necessary measure in cases of suspected threats to the child or threat to his/her physical, psychological, moral or mental safety, including the maltreatment of a student by an employee of the educational institution.</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dirty="0">
                <a:solidFill>
                  <a:srgbClr val="666666"/>
                </a:solidFill>
              </a:rPr>
              <a:t>Activate bullying prevention programs and activate bullying prevention policy in the school environment. </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dirty="0">
                <a:solidFill>
                  <a:srgbClr val="666666"/>
                </a:solidFill>
              </a:rPr>
              <a:t>Collaborate with CPS in the educational institution to follow-up on cases handled within the public schools. </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dirty="0">
                <a:solidFill>
                  <a:srgbClr val="666666"/>
                </a:solidFill>
              </a:rPr>
              <a:t>Supervise the management of cases that are the responsibility of CPS in the institution.</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dirty="0">
                <a:solidFill>
                  <a:srgbClr val="666666"/>
                </a:solidFill>
              </a:rPr>
              <a:t>Collaborate with relevant entities and facilitate information sharing related to the educational institution for the purpose of conducting comprehensive assessments and/or investigations (in the best interests of the student and in line with the legal framework) of suspected cases of threat to the child or threat to his/her physical, psychological, moral or mental safety, including student maltreatment.</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dirty="0">
                <a:solidFill>
                  <a:srgbClr val="666666"/>
                </a:solidFill>
              </a:rPr>
              <a:t>Collaborate with the FCA to follow-up on the management of cases referred to the authority.</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dirty="0">
                <a:solidFill>
                  <a:srgbClr val="666666"/>
                </a:solidFill>
              </a:rPr>
              <a:t>Document all reports and/or communications in confidential records that are accessible only to child protection professionals or the relevant authority, where necessary and based on approved information sharing protocols.</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dirty="0">
                <a:solidFill>
                  <a:srgbClr val="666666"/>
                </a:solidFill>
              </a:rPr>
              <a:t>Participate in Family and Child Protection Committee meetings to provide support in complex cases.</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dirty="0">
                <a:solidFill>
                  <a:srgbClr val="666666"/>
                </a:solidFill>
              </a:rPr>
              <a:t>Ensure adopting safety practices in schools (including school transportation, e.g., buses, field trips, and extracurricular activities).</a:t>
            </a:r>
          </a:p>
        </p:txBody>
      </p:sp>
      <p:grpSp>
        <p:nvGrpSpPr>
          <p:cNvPr id="3" name="Graphic 5">
            <a:extLst>
              <a:ext uri="{FF2B5EF4-FFF2-40B4-BE49-F238E27FC236}">
                <a16:creationId xmlns:a16="http://schemas.microsoft.com/office/drawing/2014/main" id="{C2B9D5A3-D01D-A286-151B-EA3FBB2D3425}"/>
              </a:ext>
            </a:extLst>
          </p:cNvPr>
          <p:cNvGrpSpPr/>
          <p:nvPr/>
        </p:nvGrpSpPr>
        <p:grpSpPr>
          <a:xfrm flipH="1">
            <a:off x="9190776" y="10433509"/>
            <a:ext cx="823504" cy="875841"/>
            <a:chOff x="15481147" y="3656641"/>
            <a:chExt cx="2200617" cy="2340475"/>
          </a:xfrm>
        </p:grpSpPr>
        <p:sp>
          <p:nvSpPr>
            <p:cNvPr id="4" name="Freeform 3">
              <a:extLst>
                <a:ext uri="{FF2B5EF4-FFF2-40B4-BE49-F238E27FC236}">
                  <a16:creationId xmlns:a16="http://schemas.microsoft.com/office/drawing/2014/main" id="{AEEE07D1-B95B-D1C6-C2A5-64D9C3165D68}"/>
                </a:ext>
              </a:extLst>
            </p:cNvPr>
            <p:cNvSpPr/>
            <p:nvPr/>
          </p:nvSpPr>
          <p:spPr>
            <a:xfrm>
              <a:off x="15481147" y="3656641"/>
              <a:ext cx="2200617" cy="2340475"/>
            </a:xfrm>
            <a:custGeom>
              <a:avLst/>
              <a:gdLst>
                <a:gd name="connsiteX0" fmla="*/ 0 w 2200617"/>
                <a:gd name="connsiteY0" fmla="*/ 0 h 2340475"/>
                <a:gd name="connsiteX1" fmla="*/ 2200618 w 2200617"/>
                <a:gd name="connsiteY1" fmla="*/ 0 h 2340475"/>
                <a:gd name="connsiteX2" fmla="*/ 2200618 w 2200617"/>
                <a:gd name="connsiteY2" fmla="*/ 2340476 h 2340475"/>
                <a:gd name="connsiteX3" fmla="*/ 0 w 2200617"/>
                <a:gd name="connsiteY3" fmla="*/ 2340476 h 2340475"/>
              </a:gdLst>
              <a:ahLst/>
              <a:cxnLst>
                <a:cxn ang="0">
                  <a:pos x="connsiteX0" y="connsiteY0"/>
                </a:cxn>
                <a:cxn ang="0">
                  <a:pos x="connsiteX1" y="connsiteY1"/>
                </a:cxn>
                <a:cxn ang="0">
                  <a:pos x="connsiteX2" y="connsiteY2"/>
                </a:cxn>
                <a:cxn ang="0">
                  <a:pos x="connsiteX3" y="connsiteY3"/>
                </a:cxn>
              </a:cxnLst>
              <a:rect l="l" t="t" r="r" b="b"/>
              <a:pathLst>
                <a:path w="2200617" h="2340475">
                  <a:moveTo>
                    <a:pt x="0" y="0"/>
                  </a:moveTo>
                  <a:lnTo>
                    <a:pt x="2200618" y="0"/>
                  </a:lnTo>
                  <a:lnTo>
                    <a:pt x="2200618" y="2340476"/>
                  </a:lnTo>
                  <a:lnTo>
                    <a:pt x="0" y="2340476"/>
                  </a:lnTo>
                  <a:close/>
                </a:path>
              </a:pathLst>
            </a:custGeom>
            <a:solidFill>
              <a:srgbClr val="C85933"/>
            </a:solidFill>
            <a:ln w="148590" cap="flat">
              <a:noFill/>
              <a:prstDash val="solid"/>
              <a:miter/>
            </a:ln>
          </p:spPr>
          <p:txBody>
            <a:bodyPr rtlCol="0" anchor="ctr"/>
            <a:lstStyle/>
            <a:p>
              <a:pPr algn="l" rtl="0"/>
              <a:endParaRPr lang="en-AE"/>
            </a:p>
          </p:txBody>
        </p:sp>
        <p:sp>
          <p:nvSpPr>
            <p:cNvPr id="8" name="Freeform 7">
              <a:extLst>
                <a:ext uri="{FF2B5EF4-FFF2-40B4-BE49-F238E27FC236}">
                  <a16:creationId xmlns:a16="http://schemas.microsoft.com/office/drawing/2014/main" id="{B8353A9E-22B5-5381-CCF7-B8FF113F1D81}"/>
                </a:ext>
              </a:extLst>
            </p:cNvPr>
            <p:cNvSpPr/>
            <p:nvPr/>
          </p:nvSpPr>
          <p:spPr>
            <a:xfrm>
              <a:off x="15994767" y="4348036"/>
              <a:ext cx="1186864" cy="989585"/>
            </a:xfrm>
            <a:custGeom>
              <a:avLst/>
              <a:gdLst>
                <a:gd name="connsiteX0" fmla="*/ 370490 w 1186864"/>
                <a:gd name="connsiteY0" fmla="*/ 989586 h 989585"/>
                <a:gd name="connsiteX1" fmla="*/ 48050 w 1186864"/>
                <a:gd name="connsiteY1" fmla="*/ 527939 h 989585"/>
                <a:gd name="connsiteX2" fmla="*/ 51022 w 1186864"/>
                <a:gd name="connsiteY2" fmla="*/ 121983 h 989585"/>
                <a:gd name="connsiteX3" fmla="*/ 367519 w 1186864"/>
                <a:gd name="connsiteY3" fmla="*/ 6205 h 989585"/>
                <a:gd name="connsiteX4" fmla="*/ 599319 w 1186864"/>
                <a:gd name="connsiteY4" fmla="*/ 214312 h 989585"/>
                <a:gd name="connsiteX5" fmla="*/ 872725 w 1186864"/>
                <a:gd name="connsiteY5" fmla="*/ 113189 h 989585"/>
                <a:gd name="connsiteX6" fmla="*/ 1132757 w 1186864"/>
                <a:gd name="connsiteY6" fmla="*/ 224571 h 989585"/>
                <a:gd name="connsiteX7" fmla="*/ 1175848 w 1186864"/>
                <a:gd name="connsiteY7" fmla="*/ 492766 h 989585"/>
                <a:gd name="connsiteX8" fmla="*/ 1037659 w 1186864"/>
                <a:gd name="connsiteY8" fmla="*/ 706735 h 989585"/>
                <a:gd name="connsiteX9" fmla="*/ 370490 w 1186864"/>
                <a:gd name="connsiteY9" fmla="*/ 988120 h 98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6864" h="989585">
                  <a:moveTo>
                    <a:pt x="370490" y="989586"/>
                  </a:moveTo>
                  <a:cubicBezTo>
                    <a:pt x="204069" y="847428"/>
                    <a:pt x="117887" y="716994"/>
                    <a:pt x="48050" y="527939"/>
                  </a:cubicBezTo>
                  <a:cubicBezTo>
                    <a:pt x="-985" y="394574"/>
                    <a:pt x="-30703" y="239226"/>
                    <a:pt x="51022" y="121983"/>
                  </a:cubicBezTo>
                  <a:cubicBezTo>
                    <a:pt x="116401" y="26722"/>
                    <a:pt x="250132" y="-17244"/>
                    <a:pt x="367519" y="6205"/>
                  </a:cubicBezTo>
                  <a:cubicBezTo>
                    <a:pt x="484905" y="29653"/>
                    <a:pt x="522052" y="110258"/>
                    <a:pt x="599319" y="214312"/>
                  </a:cubicBezTo>
                  <a:cubicBezTo>
                    <a:pt x="676586" y="155690"/>
                    <a:pt x="774655" y="119051"/>
                    <a:pt x="872725" y="113189"/>
                  </a:cubicBezTo>
                  <a:cubicBezTo>
                    <a:pt x="970794" y="107327"/>
                    <a:pt x="1076293" y="146897"/>
                    <a:pt x="1132757" y="224571"/>
                  </a:cubicBezTo>
                  <a:cubicBezTo>
                    <a:pt x="1184763" y="294917"/>
                    <a:pt x="1199623" y="412161"/>
                    <a:pt x="1175848" y="492766"/>
                  </a:cubicBezTo>
                  <a:cubicBezTo>
                    <a:pt x="1152074" y="573371"/>
                    <a:pt x="1098581" y="645182"/>
                    <a:pt x="1037659" y="706735"/>
                  </a:cubicBezTo>
                  <a:cubicBezTo>
                    <a:pt x="859351" y="886997"/>
                    <a:pt x="571087" y="992516"/>
                    <a:pt x="370490" y="988120"/>
                  </a:cubicBezTo>
                  <a:close/>
                </a:path>
              </a:pathLst>
            </a:custGeom>
            <a:solidFill>
              <a:srgbClr val="FFFFFF"/>
            </a:solidFill>
            <a:ln w="148590" cap="flat">
              <a:noFill/>
              <a:prstDash val="solid"/>
              <a:miter/>
            </a:ln>
          </p:spPr>
          <p:txBody>
            <a:bodyPr rtlCol="0" anchor="ctr"/>
            <a:lstStyle/>
            <a:p>
              <a:pPr algn="l" rtl="0"/>
              <a:endParaRPr lang="en-AE"/>
            </a:p>
          </p:txBody>
        </p:sp>
      </p:grpSp>
      <p:grpSp>
        <p:nvGrpSpPr>
          <p:cNvPr id="9" name="Graphic 5">
            <a:extLst>
              <a:ext uri="{FF2B5EF4-FFF2-40B4-BE49-F238E27FC236}">
                <a16:creationId xmlns:a16="http://schemas.microsoft.com/office/drawing/2014/main" id="{A67A7189-86FC-9059-4378-48A46EBA4785}"/>
              </a:ext>
            </a:extLst>
          </p:cNvPr>
          <p:cNvGrpSpPr/>
          <p:nvPr/>
        </p:nvGrpSpPr>
        <p:grpSpPr>
          <a:xfrm flipH="1">
            <a:off x="8883319" y="0"/>
            <a:ext cx="838861" cy="1040776"/>
            <a:chOff x="16121570" y="5997117"/>
            <a:chExt cx="2200617" cy="2730310"/>
          </a:xfrm>
        </p:grpSpPr>
        <p:sp>
          <p:nvSpPr>
            <p:cNvPr id="10" name="Freeform 9">
              <a:extLst>
                <a:ext uri="{FF2B5EF4-FFF2-40B4-BE49-F238E27FC236}">
                  <a16:creationId xmlns:a16="http://schemas.microsoft.com/office/drawing/2014/main" id="{FFA7FEE4-3EC1-0CE8-00A9-08C1D5F77BD7}"/>
                </a:ext>
              </a:extLst>
            </p:cNvPr>
            <p:cNvSpPr/>
            <p:nvPr/>
          </p:nvSpPr>
          <p:spPr>
            <a:xfrm>
              <a:off x="16121570" y="5997117"/>
              <a:ext cx="2200617" cy="2730310"/>
            </a:xfrm>
            <a:custGeom>
              <a:avLst/>
              <a:gdLst>
                <a:gd name="connsiteX0" fmla="*/ 0 w 2200617"/>
                <a:gd name="connsiteY0" fmla="*/ 0 h 2730310"/>
                <a:gd name="connsiteX1" fmla="*/ 2200618 w 2200617"/>
                <a:gd name="connsiteY1" fmla="*/ 0 h 2730310"/>
                <a:gd name="connsiteX2" fmla="*/ 2200618 w 2200617"/>
                <a:gd name="connsiteY2" fmla="*/ 2730311 h 2730310"/>
                <a:gd name="connsiteX3" fmla="*/ 0 w 2200617"/>
                <a:gd name="connsiteY3" fmla="*/ 2730311 h 2730310"/>
              </a:gdLst>
              <a:ahLst/>
              <a:cxnLst>
                <a:cxn ang="0">
                  <a:pos x="connsiteX0" y="connsiteY0"/>
                </a:cxn>
                <a:cxn ang="0">
                  <a:pos x="connsiteX1" y="connsiteY1"/>
                </a:cxn>
                <a:cxn ang="0">
                  <a:pos x="connsiteX2" y="connsiteY2"/>
                </a:cxn>
                <a:cxn ang="0">
                  <a:pos x="connsiteX3" y="connsiteY3"/>
                </a:cxn>
              </a:cxnLst>
              <a:rect l="l" t="t" r="r" b="b"/>
              <a:pathLst>
                <a:path w="2200617" h="2730310">
                  <a:moveTo>
                    <a:pt x="0" y="0"/>
                  </a:moveTo>
                  <a:lnTo>
                    <a:pt x="2200618" y="0"/>
                  </a:lnTo>
                  <a:lnTo>
                    <a:pt x="2200618" y="2730311"/>
                  </a:lnTo>
                  <a:lnTo>
                    <a:pt x="0" y="2730311"/>
                  </a:lnTo>
                  <a:close/>
                </a:path>
              </a:pathLst>
            </a:custGeom>
            <a:solidFill>
              <a:schemeClr val="accent6"/>
            </a:solidFill>
            <a:ln w="148590" cap="flat">
              <a:noFill/>
              <a:prstDash val="solid"/>
              <a:miter/>
            </a:ln>
          </p:spPr>
          <p:txBody>
            <a:bodyPr rtlCol="0" anchor="ctr"/>
            <a:lstStyle/>
            <a:p>
              <a:pPr algn="l" rtl="0"/>
              <a:endParaRPr lang="en-AE"/>
            </a:p>
          </p:txBody>
        </p:sp>
        <p:sp>
          <p:nvSpPr>
            <p:cNvPr id="12" name="Freeform 11">
              <a:extLst>
                <a:ext uri="{FF2B5EF4-FFF2-40B4-BE49-F238E27FC236}">
                  <a16:creationId xmlns:a16="http://schemas.microsoft.com/office/drawing/2014/main" id="{5140AA29-372B-B5F4-AAB4-38B60228FB29}"/>
                </a:ext>
              </a:extLst>
            </p:cNvPr>
            <p:cNvSpPr/>
            <p:nvPr/>
          </p:nvSpPr>
          <p:spPr>
            <a:xfrm>
              <a:off x="16439553" y="6594456"/>
              <a:ext cx="1564652" cy="1549081"/>
            </a:xfrm>
            <a:custGeom>
              <a:avLst/>
              <a:gdLst>
                <a:gd name="connsiteX0" fmla="*/ 781583 w 1564652"/>
                <a:gd name="connsiteY0" fmla="*/ 5862 h 1549081"/>
                <a:gd name="connsiteX1" fmla="*/ 699859 w 1564652"/>
                <a:gd name="connsiteY1" fmla="*/ 86467 h 1549081"/>
                <a:gd name="connsiteX2" fmla="*/ 699859 w 1564652"/>
                <a:gd name="connsiteY2" fmla="*/ 408887 h 1549081"/>
                <a:gd name="connsiteX3" fmla="*/ 563156 w 1564652"/>
                <a:gd name="connsiteY3" fmla="*/ 115778 h 1549081"/>
                <a:gd name="connsiteX4" fmla="*/ 456171 w 1564652"/>
                <a:gd name="connsiteY4" fmla="*/ 76208 h 1549081"/>
                <a:gd name="connsiteX5" fmla="*/ 416052 w 1564652"/>
                <a:gd name="connsiteY5" fmla="*/ 181728 h 1549081"/>
                <a:gd name="connsiteX6" fmla="*/ 520065 w 1564652"/>
                <a:gd name="connsiteY6" fmla="*/ 405956 h 1549081"/>
                <a:gd name="connsiteX7" fmla="*/ 343243 w 1564652"/>
                <a:gd name="connsiteY7" fmla="*/ 231556 h 1549081"/>
                <a:gd name="connsiteX8" fmla="*/ 228829 w 1564652"/>
                <a:gd name="connsiteY8" fmla="*/ 231556 h 1549081"/>
                <a:gd name="connsiteX9" fmla="*/ 228829 w 1564652"/>
                <a:gd name="connsiteY9" fmla="*/ 344403 h 1549081"/>
                <a:gd name="connsiteX10" fmla="*/ 402679 w 1564652"/>
                <a:gd name="connsiteY10" fmla="*/ 515872 h 1549081"/>
                <a:gd name="connsiteX11" fmla="*/ 179794 w 1564652"/>
                <a:gd name="connsiteY11" fmla="*/ 414750 h 1549081"/>
                <a:gd name="connsiteX12" fmla="*/ 71323 w 1564652"/>
                <a:gd name="connsiteY12" fmla="*/ 454319 h 1549081"/>
                <a:gd name="connsiteX13" fmla="*/ 111443 w 1564652"/>
                <a:gd name="connsiteY13" fmla="*/ 561304 h 1549081"/>
                <a:gd name="connsiteX14" fmla="*/ 411594 w 1564652"/>
                <a:gd name="connsiteY14" fmla="*/ 697600 h 1549081"/>
                <a:gd name="connsiteX15" fmla="*/ 81724 w 1564652"/>
                <a:gd name="connsiteY15" fmla="*/ 697600 h 1549081"/>
                <a:gd name="connsiteX16" fmla="*/ 0 w 1564652"/>
                <a:gd name="connsiteY16" fmla="*/ 778205 h 1549081"/>
                <a:gd name="connsiteX17" fmla="*/ 81724 w 1564652"/>
                <a:gd name="connsiteY17" fmla="*/ 858810 h 1549081"/>
                <a:gd name="connsiteX18" fmla="*/ 408623 w 1564652"/>
                <a:gd name="connsiteY18" fmla="*/ 858810 h 1549081"/>
                <a:gd name="connsiteX19" fmla="*/ 111443 w 1564652"/>
                <a:gd name="connsiteY19" fmla="*/ 993640 h 1549081"/>
                <a:gd name="connsiteX20" fmla="*/ 71323 w 1564652"/>
                <a:gd name="connsiteY20" fmla="*/ 1099159 h 1549081"/>
                <a:gd name="connsiteX21" fmla="*/ 178308 w 1564652"/>
                <a:gd name="connsiteY21" fmla="*/ 1138729 h 1549081"/>
                <a:gd name="connsiteX22" fmla="*/ 405651 w 1564652"/>
                <a:gd name="connsiteY22" fmla="*/ 1036140 h 1549081"/>
                <a:gd name="connsiteX23" fmla="*/ 228829 w 1564652"/>
                <a:gd name="connsiteY23" fmla="*/ 1210541 h 1549081"/>
                <a:gd name="connsiteX24" fmla="*/ 228829 w 1564652"/>
                <a:gd name="connsiteY24" fmla="*/ 1323388 h 1549081"/>
                <a:gd name="connsiteX25" fmla="*/ 343243 w 1564652"/>
                <a:gd name="connsiteY25" fmla="*/ 1323388 h 1549081"/>
                <a:gd name="connsiteX26" fmla="*/ 517093 w 1564652"/>
                <a:gd name="connsiteY26" fmla="*/ 1151919 h 1549081"/>
                <a:gd name="connsiteX27" fmla="*/ 414566 w 1564652"/>
                <a:gd name="connsiteY27" fmla="*/ 1371750 h 1549081"/>
                <a:gd name="connsiteX28" fmla="*/ 454685 w 1564652"/>
                <a:gd name="connsiteY28" fmla="*/ 1478735 h 1549081"/>
                <a:gd name="connsiteX29" fmla="*/ 563156 w 1564652"/>
                <a:gd name="connsiteY29" fmla="*/ 1439165 h 1549081"/>
                <a:gd name="connsiteX30" fmla="*/ 701345 w 1564652"/>
                <a:gd name="connsiteY30" fmla="*/ 1143126 h 1549081"/>
                <a:gd name="connsiteX31" fmla="*/ 701345 w 1564652"/>
                <a:gd name="connsiteY31" fmla="*/ 1468476 h 1549081"/>
                <a:gd name="connsiteX32" fmla="*/ 783069 w 1564652"/>
                <a:gd name="connsiteY32" fmla="*/ 1549081 h 1549081"/>
                <a:gd name="connsiteX33" fmla="*/ 864794 w 1564652"/>
                <a:gd name="connsiteY33" fmla="*/ 1468476 h 1549081"/>
                <a:gd name="connsiteX34" fmla="*/ 864794 w 1564652"/>
                <a:gd name="connsiteY34" fmla="*/ 1146056 h 1549081"/>
                <a:gd name="connsiteX35" fmla="*/ 1001497 w 1564652"/>
                <a:gd name="connsiteY35" fmla="*/ 1439165 h 1549081"/>
                <a:gd name="connsiteX36" fmla="*/ 1108481 w 1564652"/>
                <a:gd name="connsiteY36" fmla="*/ 1478735 h 1549081"/>
                <a:gd name="connsiteX37" fmla="*/ 1156030 w 1564652"/>
                <a:gd name="connsiteY37" fmla="*/ 1405458 h 1549081"/>
                <a:gd name="connsiteX38" fmla="*/ 1148601 w 1564652"/>
                <a:gd name="connsiteY38" fmla="*/ 1371750 h 1549081"/>
                <a:gd name="connsiteX39" fmla="*/ 1044588 w 1564652"/>
                <a:gd name="connsiteY39" fmla="*/ 1147522 h 1549081"/>
                <a:gd name="connsiteX40" fmla="*/ 1221410 w 1564652"/>
                <a:gd name="connsiteY40" fmla="*/ 1321922 h 1549081"/>
                <a:gd name="connsiteX41" fmla="*/ 1335824 w 1564652"/>
                <a:gd name="connsiteY41" fmla="*/ 1321922 h 1549081"/>
                <a:gd name="connsiteX42" fmla="*/ 1359599 w 1564652"/>
                <a:gd name="connsiteY42" fmla="*/ 1264766 h 1549081"/>
                <a:gd name="connsiteX43" fmla="*/ 1335824 w 1564652"/>
                <a:gd name="connsiteY43" fmla="*/ 1207610 h 1549081"/>
                <a:gd name="connsiteX44" fmla="*/ 1161974 w 1564652"/>
                <a:gd name="connsiteY44" fmla="*/ 1036140 h 1549081"/>
                <a:gd name="connsiteX45" fmla="*/ 1384859 w 1564652"/>
                <a:gd name="connsiteY45" fmla="*/ 1137263 h 1549081"/>
                <a:gd name="connsiteX46" fmla="*/ 1493329 w 1564652"/>
                <a:gd name="connsiteY46" fmla="*/ 1097694 h 1549081"/>
                <a:gd name="connsiteX47" fmla="*/ 1500759 w 1564652"/>
                <a:gd name="connsiteY47" fmla="*/ 1063986 h 1549081"/>
                <a:gd name="connsiteX48" fmla="*/ 1453210 w 1564652"/>
                <a:gd name="connsiteY48" fmla="*/ 990709 h 1549081"/>
                <a:gd name="connsiteX49" fmla="*/ 1153058 w 1564652"/>
                <a:gd name="connsiteY49" fmla="*/ 854413 h 1549081"/>
                <a:gd name="connsiteX50" fmla="*/ 1482928 w 1564652"/>
                <a:gd name="connsiteY50" fmla="*/ 854413 h 1549081"/>
                <a:gd name="connsiteX51" fmla="*/ 1564653 w 1564652"/>
                <a:gd name="connsiteY51" fmla="*/ 773808 h 1549081"/>
                <a:gd name="connsiteX52" fmla="*/ 1482928 w 1564652"/>
                <a:gd name="connsiteY52" fmla="*/ 693203 h 1549081"/>
                <a:gd name="connsiteX53" fmla="*/ 1156030 w 1564652"/>
                <a:gd name="connsiteY53" fmla="*/ 693203 h 1549081"/>
                <a:gd name="connsiteX54" fmla="*/ 1453210 w 1564652"/>
                <a:gd name="connsiteY54" fmla="*/ 558373 h 1549081"/>
                <a:gd name="connsiteX55" fmla="*/ 1500759 w 1564652"/>
                <a:gd name="connsiteY55" fmla="*/ 485096 h 1549081"/>
                <a:gd name="connsiteX56" fmla="*/ 1493329 w 1564652"/>
                <a:gd name="connsiteY56" fmla="*/ 451388 h 1549081"/>
                <a:gd name="connsiteX57" fmla="*/ 1386345 w 1564652"/>
                <a:gd name="connsiteY57" fmla="*/ 411818 h 1549081"/>
                <a:gd name="connsiteX58" fmla="*/ 1159002 w 1564652"/>
                <a:gd name="connsiteY58" fmla="*/ 514407 h 1549081"/>
                <a:gd name="connsiteX59" fmla="*/ 1335824 w 1564652"/>
                <a:gd name="connsiteY59" fmla="*/ 340006 h 1549081"/>
                <a:gd name="connsiteX60" fmla="*/ 1359599 w 1564652"/>
                <a:gd name="connsiteY60" fmla="*/ 282850 h 1549081"/>
                <a:gd name="connsiteX61" fmla="*/ 1335824 w 1564652"/>
                <a:gd name="connsiteY61" fmla="*/ 225694 h 1549081"/>
                <a:gd name="connsiteX62" fmla="*/ 1221410 w 1564652"/>
                <a:gd name="connsiteY62" fmla="*/ 225694 h 1549081"/>
                <a:gd name="connsiteX63" fmla="*/ 1047560 w 1564652"/>
                <a:gd name="connsiteY63" fmla="*/ 397163 h 1549081"/>
                <a:gd name="connsiteX64" fmla="*/ 1150087 w 1564652"/>
                <a:gd name="connsiteY64" fmla="*/ 177331 h 1549081"/>
                <a:gd name="connsiteX65" fmla="*/ 1157516 w 1564652"/>
                <a:gd name="connsiteY65" fmla="*/ 143623 h 1549081"/>
                <a:gd name="connsiteX66" fmla="*/ 1109967 w 1564652"/>
                <a:gd name="connsiteY66" fmla="*/ 70346 h 1549081"/>
                <a:gd name="connsiteX67" fmla="*/ 1001497 w 1564652"/>
                <a:gd name="connsiteY67" fmla="*/ 109916 h 1549081"/>
                <a:gd name="connsiteX68" fmla="*/ 863308 w 1564652"/>
                <a:gd name="connsiteY68" fmla="*/ 405956 h 1549081"/>
                <a:gd name="connsiteX69" fmla="*/ 863308 w 1564652"/>
                <a:gd name="connsiteY69" fmla="*/ 80605 h 1549081"/>
                <a:gd name="connsiteX70" fmla="*/ 781583 w 1564652"/>
                <a:gd name="connsiteY70" fmla="*/ 0 h 1549081"/>
                <a:gd name="connsiteX71" fmla="*/ 971779 w 1564652"/>
                <a:gd name="connsiteY71" fmla="*/ 776739 h 1549081"/>
                <a:gd name="connsiteX72" fmla="*/ 772668 w 1564652"/>
                <a:gd name="connsiteY72" fmla="*/ 973123 h 1549081"/>
                <a:gd name="connsiteX73" fmla="*/ 573557 w 1564652"/>
                <a:gd name="connsiteY73" fmla="*/ 776739 h 1549081"/>
                <a:gd name="connsiteX74" fmla="*/ 772668 w 1564652"/>
                <a:gd name="connsiteY74" fmla="*/ 580356 h 1549081"/>
                <a:gd name="connsiteX75" fmla="*/ 971779 w 1564652"/>
                <a:gd name="connsiteY75" fmla="*/ 776739 h 1549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564652" h="1549081">
                  <a:moveTo>
                    <a:pt x="781583" y="5862"/>
                  </a:moveTo>
                  <a:cubicBezTo>
                    <a:pt x="737006" y="5862"/>
                    <a:pt x="699859" y="41036"/>
                    <a:pt x="699859" y="86467"/>
                  </a:cubicBezTo>
                  <a:lnTo>
                    <a:pt x="699859" y="408887"/>
                  </a:lnTo>
                  <a:lnTo>
                    <a:pt x="563156" y="115778"/>
                  </a:lnTo>
                  <a:cubicBezTo>
                    <a:pt x="543839" y="76208"/>
                    <a:pt x="496291" y="57157"/>
                    <a:pt x="456171" y="76208"/>
                  </a:cubicBezTo>
                  <a:cubicBezTo>
                    <a:pt x="416052" y="95261"/>
                    <a:pt x="396735" y="142158"/>
                    <a:pt x="416052" y="181728"/>
                  </a:cubicBezTo>
                  <a:lnTo>
                    <a:pt x="520065" y="405956"/>
                  </a:lnTo>
                  <a:lnTo>
                    <a:pt x="343243" y="231556"/>
                  </a:lnTo>
                  <a:cubicBezTo>
                    <a:pt x="312039" y="200780"/>
                    <a:pt x="260033" y="200780"/>
                    <a:pt x="228829" y="231556"/>
                  </a:cubicBezTo>
                  <a:cubicBezTo>
                    <a:pt x="197625" y="262333"/>
                    <a:pt x="197625" y="313627"/>
                    <a:pt x="228829" y="344403"/>
                  </a:cubicBezTo>
                  <a:lnTo>
                    <a:pt x="402679" y="515872"/>
                  </a:lnTo>
                  <a:lnTo>
                    <a:pt x="179794" y="414750"/>
                  </a:lnTo>
                  <a:cubicBezTo>
                    <a:pt x="139675" y="395697"/>
                    <a:pt x="90640" y="414750"/>
                    <a:pt x="71323" y="454319"/>
                  </a:cubicBezTo>
                  <a:cubicBezTo>
                    <a:pt x="52006" y="493889"/>
                    <a:pt x="71323" y="542252"/>
                    <a:pt x="111443" y="561304"/>
                  </a:cubicBezTo>
                  <a:lnTo>
                    <a:pt x="411594" y="697600"/>
                  </a:lnTo>
                  <a:lnTo>
                    <a:pt x="81724" y="697600"/>
                  </a:lnTo>
                  <a:cubicBezTo>
                    <a:pt x="37148" y="697600"/>
                    <a:pt x="0" y="732773"/>
                    <a:pt x="0" y="778205"/>
                  </a:cubicBezTo>
                  <a:cubicBezTo>
                    <a:pt x="0" y="823637"/>
                    <a:pt x="35662" y="858810"/>
                    <a:pt x="81724" y="858810"/>
                  </a:cubicBezTo>
                  <a:lnTo>
                    <a:pt x="408623" y="858810"/>
                  </a:lnTo>
                  <a:lnTo>
                    <a:pt x="111443" y="993640"/>
                  </a:lnTo>
                  <a:cubicBezTo>
                    <a:pt x="71323" y="1012692"/>
                    <a:pt x="52006" y="1059589"/>
                    <a:pt x="71323" y="1099159"/>
                  </a:cubicBezTo>
                  <a:cubicBezTo>
                    <a:pt x="90640" y="1138729"/>
                    <a:pt x="138189" y="1157781"/>
                    <a:pt x="178308" y="1138729"/>
                  </a:cubicBezTo>
                  <a:lnTo>
                    <a:pt x="405651" y="1036140"/>
                  </a:lnTo>
                  <a:lnTo>
                    <a:pt x="228829" y="1210541"/>
                  </a:lnTo>
                  <a:cubicBezTo>
                    <a:pt x="197625" y="1241317"/>
                    <a:pt x="197625" y="1292611"/>
                    <a:pt x="228829" y="1323388"/>
                  </a:cubicBezTo>
                  <a:cubicBezTo>
                    <a:pt x="260033" y="1354164"/>
                    <a:pt x="312039" y="1354164"/>
                    <a:pt x="343243" y="1323388"/>
                  </a:cubicBezTo>
                  <a:lnTo>
                    <a:pt x="517093" y="1151919"/>
                  </a:lnTo>
                  <a:lnTo>
                    <a:pt x="414566" y="1371750"/>
                  </a:lnTo>
                  <a:cubicBezTo>
                    <a:pt x="395249" y="1411320"/>
                    <a:pt x="414566" y="1459684"/>
                    <a:pt x="454685" y="1478735"/>
                  </a:cubicBezTo>
                  <a:cubicBezTo>
                    <a:pt x="494805" y="1497787"/>
                    <a:pt x="543839" y="1478735"/>
                    <a:pt x="563156" y="1439165"/>
                  </a:cubicBezTo>
                  <a:lnTo>
                    <a:pt x="701345" y="1143126"/>
                  </a:lnTo>
                  <a:lnTo>
                    <a:pt x="701345" y="1468476"/>
                  </a:lnTo>
                  <a:cubicBezTo>
                    <a:pt x="701345" y="1512443"/>
                    <a:pt x="737006" y="1549081"/>
                    <a:pt x="783069" y="1549081"/>
                  </a:cubicBezTo>
                  <a:cubicBezTo>
                    <a:pt x="829132" y="1549081"/>
                    <a:pt x="864794" y="1513909"/>
                    <a:pt x="864794" y="1468476"/>
                  </a:cubicBezTo>
                  <a:lnTo>
                    <a:pt x="864794" y="1146056"/>
                  </a:lnTo>
                  <a:lnTo>
                    <a:pt x="1001497" y="1439165"/>
                  </a:lnTo>
                  <a:cubicBezTo>
                    <a:pt x="1020813" y="1478735"/>
                    <a:pt x="1068362" y="1497787"/>
                    <a:pt x="1108481" y="1478735"/>
                  </a:cubicBezTo>
                  <a:cubicBezTo>
                    <a:pt x="1138199" y="1465545"/>
                    <a:pt x="1156030" y="1436235"/>
                    <a:pt x="1156030" y="1405458"/>
                  </a:cubicBezTo>
                  <a:cubicBezTo>
                    <a:pt x="1156030" y="1393734"/>
                    <a:pt x="1153058" y="1383475"/>
                    <a:pt x="1148601" y="1371750"/>
                  </a:cubicBezTo>
                  <a:lnTo>
                    <a:pt x="1044588" y="1147522"/>
                  </a:lnTo>
                  <a:lnTo>
                    <a:pt x="1221410" y="1321922"/>
                  </a:lnTo>
                  <a:cubicBezTo>
                    <a:pt x="1252614" y="1352698"/>
                    <a:pt x="1304620" y="1352698"/>
                    <a:pt x="1335824" y="1321922"/>
                  </a:cubicBezTo>
                  <a:cubicBezTo>
                    <a:pt x="1352169" y="1305801"/>
                    <a:pt x="1359599" y="1285283"/>
                    <a:pt x="1359599" y="1264766"/>
                  </a:cubicBezTo>
                  <a:cubicBezTo>
                    <a:pt x="1359599" y="1244248"/>
                    <a:pt x="1352169" y="1223731"/>
                    <a:pt x="1335824" y="1207610"/>
                  </a:cubicBezTo>
                  <a:lnTo>
                    <a:pt x="1161974" y="1036140"/>
                  </a:lnTo>
                  <a:lnTo>
                    <a:pt x="1384859" y="1137263"/>
                  </a:lnTo>
                  <a:cubicBezTo>
                    <a:pt x="1424978" y="1156316"/>
                    <a:pt x="1474013" y="1137263"/>
                    <a:pt x="1493329" y="1097694"/>
                  </a:cubicBezTo>
                  <a:cubicBezTo>
                    <a:pt x="1497787" y="1087435"/>
                    <a:pt x="1500759" y="1075710"/>
                    <a:pt x="1500759" y="1063986"/>
                  </a:cubicBezTo>
                  <a:cubicBezTo>
                    <a:pt x="1500759" y="1033210"/>
                    <a:pt x="1482928" y="1005364"/>
                    <a:pt x="1453210" y="990709"/>
                  </a:cubicBezTo>
                  <a:lnTo>
                    <a:pt x="1153058" y="854413"/>
                  </a:lnTo>
                  <a:lnTo>
                    <a:pt x="1482928" y="854413"/>
                  </a:lnTo>
                  <a:cubicBezTo>
                    <a:pt x="1527505" y="854413"/>
                    <a:pt x="1564653" y="819240"/>
                    <a:pt x="1564653" y="773808"/>
                  </a:cubicBezTo>
                  <a:cubicBezTo>
                    <a:pt x="1564653" y="728376"/>
                    <a:pt x="1528991" y="693203"/>
                    <a:pt x="1482928" y="693203"/>
                  </a:cubicBezTo>
                  <a:lnTo>
                    <a:pt x="1156030" y="693203"/>
                  </a:lnTo>
                  <a:lnTo>
                    <a:pt x="1453210" y="558373"/>
                  </a:lnTo>
                  <a:cubicBezTo>
                    <a:pt x="1482928" y="545183"/>
                    <a:pt x="1500759" y="515872"/>
                    <a:pt x="1500759" y="485096"/>
                  </a:cubicBezTo>
                  <a:cubicBezTo>
                    <a:pt x="1500759" y="473371"/>
                    <a:pt x="1497787" y="463112"/>
                    <a:pt x="1493329" y="451388"/>
                  </a:cubicBezTo>
                  <a:cubicBezTo>
                    <a:pt x="1474013" y="411818"/>
                    <a:pt x="1426464" y="392766"/>
                    <a:pt x="1386345" y="411818"/>
                  </a:cubicBezTo>
                  <a:lnTo>
                    <a:pt x="1159002" y="514407"/>
                  </a:lnTo>
                  <a:lnTo>
                    <a:pt x="1335824" y="340006"/>
                  </a:lnTo>
                  <a:cubicBezTo>
                    <a:pt x="1352169" y="323886"/>
                    <a:pt x="1359599" y="303368"/>
                    <a:pt x="1359599" y="282850"/>
                  </a:cubicBezTo>
                  <a:cubicBezTo>
                    <a:pt x="1359599" y="262333"/>
                    <a:pt x="1352169" y="241815"/>
                    <a:pt x="1335824" y="225694"/>
                  </a:cubicBezTo>
                  <a:cubicBezTo>
                    <a:pt x="1304620" y="194918"/>
                    <a:pt x="1252614" y="194918"/>
                    <a:pt x="1221410" y="225694"/>
                  </a:cubicBezTo>
                  <a:lnTo>
                    <a:pt x="1047560" y="397163"/>
                  </a:lnTo>
                  <a:lnTo>
                    <a:pt x="1150087" y="177331"/>
                  </a:lnTo>
                  <a:cubicBezTo>
                    <a:pt x="1154544" y="167073"/>
                    <a:pt x="1157516" y="155348"/>
                    <a:pt x="1157516" y="143623"/>
                  </a:cubicBezTo>
                  <a:cubicBezTo>
                    <a:pt x="1157516" y="112847"/>
                    <a:pt x="1139685" y="85002"/>
                    <a:pt x="1109967" y="70346"/>
                  </a:cubicBezTo>
                  <a:cubicBezTo>
                    <a:pt x="1069848" y="51294"/>
                    <a:pt x="1020813" y="70346"/>
                    <a:pt x="1001497" y="109916"/>
                  </a:cubicBezTo>
                  <a:lnTo>
                    <a:pt x="863308" y="405956"/>
                  </a:lnTo>
                  <a:lnTo>
                    <a:pt x="863308" y="80605"/>
                  </a:lnTo>
                  <a:cubicBezTo>
                    <a:pt x="863308" y="36639"/>
                    <a:pt x="827646" y="0"/>
                    <a:pt x="781583" y="0"/>
                  </a:cubicBezTo>
                  <a:close/>
                  <a:moveTo>
                    <a:pt x="971779" y="776739"/>
                  </a:moveTo>
                  <a:cubicBezTo>
                    <a:pt x="971779" y="885189"/>
                    <a:pt x="882625" y="973123"/>
                    <a:pt x="772668" y="973123"/>
                  </a:cubicBezTo>
                  <a:cubicBezTo>
                    <a:pt x="662711" y="973123"/>
                    <a:pt x="573557" y="885189"/>
                    <a:pt x="573557" y="776739"/>
                  </a:cubicBezTo>
                  <a:cubicBezTo>
                    <a:pt x="573557" y="668289"/>
                    <a:pt x="662711" y="580356"/>
                    <a:pt x="772668" y="580356"/>
                  </a:cubicBezTo>
                  <a:cubicBezTo>
                    <a:pt x="882625" y="580356"/>
                    <a:pt x="971779" y="668289"/>
                    <a:pt x="971779" y="776739"/>
                  </a:cubicBezTo>
                  <a:close/>
                </a:path>
              </a:pathLst>
            </a:custGeom>
            <a:solidFill>
              <a:srgbClr val="FFFFFF"/>
            </a:solidFill>
            <a:ln w="148590" cap="flat">
              <a:noFill/>
              <a:prstDash val="solid"/>
              <a:miter/>
            </a:ln>
          </p:spPr>
          <p:txBody>
            <a:bodyPr rtlCol="0" anchor="ctr"/>
            <a:lstStyle/>
            <a:p>
              <a:pPr algn="l" rtl="0"/>
              <a:endParaRPr lang="en-AE"/>
            </a:p>
          </p:txBody>
        </p:sp>
      </p:grpSp>
      <p:grpSp>
        <p:nvGrpSpPr>
          <p:cNvPr id="15" name="Graphic 5">
            <a:extLst>
              <a:ext uri="{FF2B5EF4-FFF2-40B4-BE49-F238E27FC236}">
                <a16:creationId xmlns:a16="http://schemas.microsoft.com/office/drawing/2014/main" id="{9AE44D4D-E3A6-FF9C-23DE-FF81BB076DAC}"/>
              </a:ext>
            </a:extLst>
          </p:cNvPr>
          <p:cNvGrpSpPr/>
          <p:nvPr/>
        </p:nvGrpSpPr>
        <p:grpSpPr>
          <a:xfrm flipH="1">
            <a:off x="19258803" y="-76643"/>
            <a:ext cx="863594" cy="914400"/>
            <a:chOff x="15386051" y="8931275"/>
            <a:chExt cx="2200617" cy="2330080"/>
          </a:xfrm>
        </p:grpSpPr>
        <p:sp>
          <p:nvSpPr>
            <p:cNvPr id="16" name="Freeform 15">
              <a:extLst>
                <a:ext uri="{FF2B5EF4-FFF2-40B4-BE49-F238E27FC236}">
                  <a16:creationId xmlns:a16="http://schemas.microsoft.com/office/drawing/2014/main" id="{9825D38B-02EC-73DD-DC8D-DA5442677972}"/>
                </a:ext>
              </a:extLst>
            </p:cNvPr>
            <p:cNvSpPr/>
            <p:nvPr/>
          </p:nvSpPr>
          <p:spPr>
            <a:xfrm>
              <a:off x="15386051" y="8931275"/>
              <a:ext cx="2200617" cy="2330080"/>
            </a:xfrm>
            <a:custGeom>
              <a:avLst/>
              <a:gdLst>
                <a:gd name="connsiteX0" fmla="*/ 0 w 2200617"/>
                <a:gd name="connsiteY0" fmla="*/ 0 h 2533927"/>
                <a:gd name="connsiteX1" fmla="*/ 2200618 w 2200617"/>
                <a:gd name="connsiteY1" fmla="*/ 0 h 2533927"/>
                <a:gd name="connsiteX2" fmla="*/ 2200618 w 2200617"/>
                <a:gd name="connsiteY2" fmla="*/ 2533928 h 2533927"/>
                <a:gd name="connsiteX3" fmla="*/ 0 w 2200617"/>
                <a:gd name="connsiteY3" fmla="*/ 2533928 h 2533927"/>
              </a:gdLst>
              <a:ahLst/>
              <a:cxnLst>
                <a:cxn ang="0">
                  <a:pos x="connsiteX0" y="connsiteY0"/>
                </a:cxn>
                <a:cxn ang="0">
                  <a:pos x="connsiteX1" y="connsiteY1"/>
                </a:cxn>
                <a:cxn ang="0">
                  <a:pos x="connsiteX2" y="connsiteY2"/>
                </a:cxn>
                <a:cxn ang="0">
                  <a:pos x="connsiteX3" y="connsiteY3"/>
                </a:cxn>
              </a:cxnLst>
              <a:rect l="l" t="t" r="r" b="b"/>
              <a:pathLst>
                <a:path w="2200617" h="2533927">
                  <a:moveTo>
                    <a:pt x="0" y="0"/>
                  </a:moveTo>
                  <a:lnTo>
                    <a:pt x="2200618" y="0"/>
                  </a:lnTo>
                  <a:lnTo>
                    <a:pt x="2200618" y="2533928"/>
                  </a:lnTo>
                  <a:lnTo>
                    <a:pt x="0" y="2533928"/>
                  </a:lnTo>
                  <a:close/>
                </a:path>
              </a:pathLst>
            </a:custGeom>
            <a:solidFill>
              <a:srgbClr val="8CB984"/>
            </a:solidFill>
            <a:ln w="148590" cap="flat">
              <a:noFill/>
              <a:prstDash val="solid"/>
              <a:miter/>
            </a:ln>
          </p:spPr>
          <p:txBody>
            <a:bodyPr rtlCol="0" anchor="ctr"/>
            <a:lstStyle/>
            <a:p>
              <a:pPr algn="l" rtl="0"/>
              <a:endParaRPr lang="en-AE"/>
            </a:p>
          </p:txBody>
        </p:sp>
        <p:grpSp>
          <p:nvGrpSpPr>
            <p:cNvPr id="18" name="Graphic 5">
              <a:extLst>
                <a:ext uri="{FF2B5EF4-FFF2-40B4-BE49-F238E27FC236}">
                  <a16:creationId xmlns:a16="http://schemas.microsoft.com/office/drawing/2014/main" id="{A492B011-051A-0393-DB4A-9F1D3F8EB616}"/>
                </a:ext>
              </a:extLst>
            </p:cNvPr>
            <p:cNvGrpSpPr/>
            <p:nvPr/>
          </p:nvGrpSpPr>
          <p:grpSpPr>
            <a:xfrm>
              <a:off x="15808858" y="9482831"/>
              <a:ext cx="1355784" cy="1258549"/>
              <a:chOff x="15808858" y="9482831"/>
              <a:chExt cx="1355784" cy="1258549"/>
            </a:xfrm>
            <a:solidFill>
              <a:srgbClr val="FFFFFF"/>
            </a:solidFill>
          </p:grpSpPr>
          <p:sp>
            <p:nvSpPr>
              <p:cNvPr id="19" name="Freeform 18">
                <a:extLst>
                  <a:ext uri="{FF2B5EF4-FFF2-40B4-BE49-F238E27FC236}">
                    <a16:creationId xmlns:a16="http://schemas.microsoft.com/office/drawing/2014/main" id="{DD6F5198-6449-5B43-CA7C-FDFF9339BFE6}"/>
                  </a:ext>
                </a:extLst>
              </p:cNvPr>
              <p:cNvSpPr/>
              <p:nvPr/>
            </p:nvSpPr>
            <p:spPr>
              <a:xfrm rot="4791600">
                <a:off x="15855583" y="9530519"/>
                <a:ext cx="582473" cy="574494"/>
              </a:xfrm>
              <a:custGeom>
                <a:avLst/>
                <a:gdLst>
                  <a:gd name="connsiteX0" fmla="*/ 582473 w 582473"/>
                  <a:gd name="connsiteY0" fmla="*/ 0 h 574494"/>
                  <a:gd name="connsiteX1" fmla="*/ 582473 w 582473"/>
                  <a:gd name="connsiteY1" fmla="*/ 0 h 574494"/>
                  <a:gd name="connsiteX2" fmla="*/ 0 w 582473"/>
                  <a:gd name="connsiteY2" fmla="*/ 574494 h 574494"/>
                  <a:gd name="connsiteX3" fmla="*/ 0 w 582473"/>
                  <a:gd name="connsiteY3" fmla="*/ 574494 h 574494"/>
                  <a:gd name="connsiteX4" fmla="*/ 582473 w 582473"/>
                  <a:gd name="connsiteY4" fmla="*/ 0 h 574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473" h="574494">
                    <a:moveTo>
                      <a:pt x="582473" y="0"/>
                    </a:moveTo>
                    <a:lnTo>
                      <a:pt x="582473" y="0"/>
                    </a:lnTo>
                    <a:cubicBezTo>
                      <a:pt x="582473" y="316558"/>
                      <a:pt x="320955" y="574494"/>
                      <a:pt x="0" y="574494"/>
                    </a:cubicBezTo>
                    <a:lnTo>
                      <a:pt x="0" y="574494"/>
                    </a:lnTo>
                    <a:cubicBezTo>
                      <a:pt x="0" y="257936"/>
                      <a:pt x="261519" y="0"/>
                      <a:pt x="582473" y="0"/>
                    </a:cubicBezTo>
                    <a:close/>
                  </a:path>
                </a:pathLst>
              </a:custGeom>
              <a:solidFill>
                <a:srgbClr val="FFFFFF"/>
              </a:solidFill>
              <a:ln w="148590" cap="flat">
                <a:noFill/>
                <a:prstDash val="solid"/>
                <a:miter/>
              </a:ln>
            </p:spPr>
            <p:txBody>
              <a:bodyPr rtlCol="0" anchor="ctr"/>
              <a:lstStyle/>
              <a:p>
                <a:endParaRPr lang="en-AE"/>
              </a:p>
            </p:txBody>
          </p:sp>
          <p:sp>
            <p:nvSpPr>
              <p:cNvPr id="20" name="Freeform 19">
                <a:extLst>
                  <a:ext uri="{FF2B5EF4-FFF2-40B4-BE49-F238E27FC236}">
                    <a16:creationId xmlns:a16="http://schemas.microsoft.com/office/drawing/2014/main" id="{9589627D-69AD-51D3-EEB1-CE21FA7AE8FE}"/>
                  </a:ext>
                </a:extLst>
              </p:cNvPr>
              <p:cNvSpPr/>
              <p:nvPr/>
            </p:nvSpPr>
            <p:spPr>
              <a:xfrm rot="6008400">
                <a:off x="16533546" y="9528915"/>
                <a:ext cx="582473" cy="574494"/>
              </a:xfrm>
              <a:custGeom>
                <a:avLst/>
                <a:gdLst>
                  <a:gd name="connsiteX0" fmla="*/ 0 w 582473"/>
                  <a:gd name="connsiteY0" fmla="*/ 0 h 574494"/>
                  <a:gd name="connsiteX1" fmla="*/ 0 w 582473"/>
                  <a:gd name="connsiteY1" fmla="*/ 0 h 574494"/>
                  <a:gd name="connsiteX2" fmla="*/ 582473 w 582473"/>
                  <a:gd name="connsiteY2" fmla="*/ 574494 h 574494"/>
                  <a:gd name="connsiteX3" fmla="*/ 582473 w 582473"/>
                  <a:gd name="connsiteY3" fmla="*/ 574494 h 574494"/>
                  <a:gd name="connsiteX4" fmla="*/ 0 w 582473"/>
                  <a:gd name="connsiteY4" fmla="*/ 0 h 574494"/>
                  <a:gd name="connsiteX5" fmla="*/ 0 w 582473"/>
                  <a:gd name="connsiteY5" fmla="*/ 0 h 57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2473" h="574494">
                    <a:moveTo>
                      <a:pt x="0" y="0"/>
                    </a:moveTo>
                    <a:lnTo>
                      <a:pt x="0" y="0"/>
                    </a:lnTo>
                    <a:cubicBezTo>
                      <a:pt x="320955" y="0"/>
                      <a:pt x="582473" y="257936"/>
                      <a:pt x="582473" y="574494"/>
                    </a:cubicBezTo>
                    <a:lnTo>
                      <a:pt x="582473" y="574494"/>
                    </a:lnTo>
                    <a:cubicBezTo>
                      <a:pt x="261518" y="574494"/>
                      <a:pt x="0" y="316558"/>
                      <a:pt x="0" y="0"/>
                    </a:cubicBezTo>
                    <a:lnTo>
                      <a:pt x="0" y="0"/>
                    </a:lnTo>
                    <a:close/>
                  </a:path>
                </a:pathLst>
              </a:custGeom>
              <a:solidFill>
                <a:srgbClr val="FFFFFF"/>
              </a:solidFill>
              <a:ln w="148590" cap="flat">
                <a:noFill/>
                <a:prstDash val="solid"/>
                <a:miter/>
              </a:ln>
            </p:spPr>
            <p:txBody>
              <a:bodyPr rtlCol="0" anchor="ctr"/>
              <a:lstStyle/>
              <a:p>
                <a:endParaRPr lang="en-AE"/>
              </a:p>
            </p:txBody>
          </p:sp>
          <p:sp>
            <p:nvSpPr>
              <p:cNvPr id="21" name="Freeform 20">
                <a:extLst>
                  <a:ext uri="{FF2B5EF4-FFF2-40B4-BE49-F238E27FC236}">
                    <a16:creationId xmlns:a16="http://schemas.microsoft.com/office/drawing/2014/main" id="{E3277B14-6295-9359-66E2-38F37065DD34}"/>
                  </a:ext>
                </a:extLst>
              </p:cNvPr>
              <p:cNvSpPr/>
              <p:nvPr/>
            </p:nvSpPr>
            <p:spPr>
              <a:xfrm rot="4791600">
                <a:off x="15855997" y="10120802"/>
                <a:ext cx="582473" cy="574493"/>
              </a:xfrm>
              <a:custGeom>
                <a:avLst/>
                <a:gdLst>
                  <a:gd name="connsiteX0" fmla="*/ 582473 w 582473"/>
                  <a:gd name="connsiteY0" fmla="*/ 0 h 574493"/>
                  <a:gd name="connsiteX1" fmla="*/ 582473 w 582473"/>
                  <a:gd name="connsiteY1" fmla="*/ 0 h 574493"/>
                  <a:gd name="connsiteX2" fmla="*/ 0 w 582473"/>
                  <a:gd name="connsiteY2" fmla="*/ 574494 h 574493"/>
                  <a:gd name="connsiteX3" fmla="*/ 0 w 582473"/>
                  <a:gd name="connsiteY3" fmla="*/ 574494 h 574493"/>
                  <a:gd name="connsiteX4" fmla="*/ 582473 w 582473"/>
                  <a:gd name="connsiteY4" fmla="*/ 0 h 574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473" h="574493">
                    <a:moveTo>
                      <a:pt x="582473" y="0"/>
                    </a:moveTo>
                    <a:lnTo>
                      <a:pt x="582473" y="0"/>
                    </a:lnTo>
                    <a:cubicBezTo>
                      <a:pt x="582473" y="316558"/>
                      <a:pt x="320955" y="574494"/>
                      <a:pt x="0" y="574494"/>
                    </a:cubicBezTo>
                    <a:lnTo>
                      <a:pt x="0" y="574494"/>
                    </a:lnTo>
                    <a:cubicBezTo>
                      <a:pt x="0" y="257936"/>
                      <a:pt x="261519" y="0"/>
                      <a:pt x="582473" y="0"/>
                    </a:cubicBezTo>
                    <a:close/>
                  </a:path>
                </a:pathLst>
              </a:custGeom>
              <a:solidFill>
                <a:srgbClr val="FFFFFF"/>
              </a:solidFill>
              <a:ln w="148590" cap="flat">
                <a:noFill/>
                <a:prstDash val="solid"/>
                <a:miter/>
              </a:ln>
            </p:spPr>
            <p:txBody>
              <a:bodyPr rtlCol="0" anchor="ctr"/>
              <a:lstStyle/>
              <a:p>
                <a:endParaRPr lang="en-AE"/>
              </a:p>
            </p:txBody>
          </p:sp>
          <p:sp>
            <p:nvSpPr>
              <p:cNvPr id="22" name="Freeform 21">
                <a:extLst>
                  <a:ext uri="{FF2B5EF4-FFF2-40B4-BE49-F238E27FC236}">
                    <a16:creationId xmlns:a16="http://schemas.microsoft.com/office/drawing/2014/main" id="{67C22A3C-D0EF-985F-CF13-5ABECDB4B0C2}"/>
                  </a:ext>
                </a:extLst>
              </p:cNvPr>
              <p:cNvSpPr/>
              <p:nvPr/>
            </p:nvSpPr>
            <p:spPr>
              <a:xfrm rot="6008400">
                <a:off x="16535446" y="10119861"/>
                <a:ext cx="582473" cy="574493"/>
              </a:xfrm>
              <a:custGeom>
                <a:avLst/>
                <a:gdLst>
                  <a:gd name="connsiteX0" fmla="*/ 0 w 582473"/>
                  <a:gd name="connsiteY0" fmla="*/ 0 h 574493"/>
                  <a:gd name="connsiteX1" fmla="*/ 0 w 582473"/>
                  <a:gd name="connsiteY1" fmla="*/ 0 h 574493"/>
                  <a:gd name="connsiteX2" fmla="*/ 582473 w 582473"/>
                  <a:gd name="connsiteY2" fmla="*/ 574494 h 574493"/>
                  <a:gd name="connsiteX3" fmla="*/ 582473 w 582473"/>
                  <a:gd name="connsiteY3" fmla="*/ 574494 h 574493"/>
                  <a:gd name="connsiteX4" fmla="*/ 0 w 582473"/>
                  <a:gd name="connsiteY4" fmla="*/ 0 h 574493"/>
                  <a:gd name="connsiteX5" fmla="*/ 0 w 582473"/>
                  <a:gd name="connsiteY5" fmla="*/ 0 h 574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2473" h="574493">
                    <a:moveTo>
                      <a:pt x="0" y="0"/>
                    </a:moveTo>
                    <a:lnTo>
                      <a:pt x="0" y="0"/>
                    </a:lnTo>
                    <a:cubicBezTo>
                      <a:pt x="320955" y="0"/>
                      <a:pt x="582473" y="257936"/>
                      <a:pt x="582473" y="574494"/>
                    </a:cubicBezTo>
                    <a:lnTo>
                      <a:pt x="582473" y="574494"/>
                    </a:lnTo>
                    <a:cubicBezTo>
                      <a:pt x="261519" y="574494"/>
                      <a:pt x="0" y="316558"/>
                      <a:pt x="0" y="0"/>
                    </a:cubicBezTo>
                    <a:lnTo>
                      <a:pt x="0" y="0"/>
                    </a:lnTo>
                    <a:close/>
                  </a:path>
                </a:pathLst>
              </a:custGeom>
              <a:solidFill>
                <a:srgbClr val="FFFFFF"/>
              </a:solidFill>
              <a:ln w="148590" cap="flat">
                <a:noFill/>
                <a:prstDash val="solid"/>
                <a:miter/>
              </a:ln>
            </p:spPr>
            <p:txBody>
              <a:bodyPr rtlCol="0" anchor="ctr"/>
              <a:lstStyle/>
              <a:p>
                <a:pPr algn="l" rtl="0"/>
                <a:endParaRPr lang="en-AE"/>
              </a:p>
            </p:txBody>
          </p:sp>
        </p:grpSp>
      </p:grpSp>
      <p:grpSp>
        <p:nvGrpSpPr>
          <p:cNvPr id="27" name="Group 26">
            <a:extLst>
              <a:ext uri="{FF2B5EF4-FFF2-40B4-BE49-F238E27FC236}">
                <a16:creationId xmlns:a16="http://schemas.microsoft.com/office/drawing/2014/main" id="{D44C0719-485C-ACDB-7A1E-FCD6393CAC57}"/>
              </a:ext>
            </a:extLst>
          </p:cNvPr>
          <p:cNvGrpSpPr/>
          <p:nvPr/>
        </p:nvGrpSpPr>
        <p:grpSpPr>
          <a:xfrm>
            <a:off x="-480855" y="5216754"/>
            <a:ext cx="823504" cy="875841"/>
            <a:chOff x="-436215" y="5861509"/>
            <a:chExt cx="823504" cy="875841"/>
          </a:xfrm>
        </p:grpSpPr>
        <p:sp>
          <p:nvSpPr>
            <p:cNvPr id="24" name="Freeform 23">
              <a:extLst>
                <a:ext uri="{FF2B5EF4-FFF2-40B4-BE49-F238E27FC236}">
                  <a16:creationId xmlns:a16="http://schemas.microsoft.com/office/drawing/2014/main" id="{31E571AB-EB4B-C3AD-6A0E-F389A110FC15}"/>
                </a:ext>
              </a:extLst>
            </p:cNvPr>
            <p:cNvSpPr/>
            <p:nvPr/>
          </p:nvSpPr>
          <p:spPr>
            <a:xfrm flipH="1">
              <a:off x="-436215" y="5861509"/>
              <a:ext cx="823504" cy="875841"/>
            </a:xfrm>
            <a:custGeom>
              <a:avLst/>
              <a:gdLst>
                <a:gd name="connsiteX0" fmla="*/ 0 w 2200617"/>
                <a:gd name="connsiteY0" fmla="*/ 0 h 2340475"/>
                <a:gd name="connsiteX1" fmla="*/ 2200618 w 2200617"/>
                <a:gd name="connsiteY1" fmla="*/ 0 h 2340475"/>
                <a:gd name="connsiteX2" fmla="*/ 2200618 w 2200617"/>
                <a:gd name="connsiteY2" fmla="*/ 2340476 h 2340475"/>
                <a:gd name="connsiteX3" fmla="*/ 0 w 2200617"/>
                <a:gd name="connsiteY3" fmla="*/ 2340476 h 2340475"/>
              </a:gdLst>
              <a:ahLst/>
              <a:cxnLst>
                <a:cxn ang="0">
                  <a:pos x="connsiteX0" y="connsiteY0"/>
                </a:cxn>
                <a:cxn ang="0">
                  <a:pos x="connsiteX1" y="connsiteY1"/>
                </a:cxn>
                <a:cxn ang="0">
                  <a:pos x="connsiteX2" y="connsiteY2"/>
                </a:cxn>
                <a:cxn ang="0">
                  <a:pos x="connsiteX3" y="connsiteY3"/>
                </a:cxn>
              </a:cxnLst>
              <a:rect l="l" t="t" r="r" b="b"/>
              <a:pathLst>
                <a:path w="2200617" h="2340475">
                  <a:moveTo>
                    <a:pt x="0" y="0"/>
                  </a:moveTo>
                  <a:lnTo>
                    <a:pt x="2200618" y="0"/>
                  </a:lnTo>
                  <a:lnTo>
                    <a:pt x="2200618" y="2340476"/>
                  </a:lnTo>
                  <a:lnTo>
                    <a:pt x="0" y="2340476"/>
                  </a:lnTo>
                  <a:close/>
                </a:path>
              </a:pathLst>
            </a:custGeom>
            <a:solidFill>
              <a:schemeClr val="accent4"/>
            </a:solidFill>
            <a:ln w="148590" cap="flat">
              <a:noFill/>
              <a:prstDash val="solid"/>
              <a:miter/>
            </a:ln>
          </p:spPr>
          <p:txBody>
            <a:bodyPr rtlCol="0" anchor="ctr"/>
            <a:lstStyle/>
            <a:p>
              <a:pPr algn="l" rtl="0"/>
              <a:endParaRPr lang="en-AE"/>
            </a:p>
          </p:txBody>
        </p:sp>
        <p:pic>
          <p:nvPicPr>
            <p:cNvPr id="26" name="Graphic 25">
              <a:extLst>
                <a:ext uri="{FF2B5EF4-FFF2-40B4-BE49-F238E27FC236}">
                  <a16:creationId xmlns:a16="http://schemas.microsoft.com/office/drawing/2014/main" id="{155DFBC0-A71B-A04A-392F-26D42A67ED8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5400000">
              <a:off x="-219902" y="6085756"/>
              <a:ext cx="397252" cy="427347"/>
            </a:xfrm>
            <a:prstGeom prst="rect">
              <a:avLst/>
            </a:prstGeom>
          </p:spPr>
        </p:pic>
      </p:grpSp>
      <p:sp>
        <p:nvSpPr>
          <p:cNvPr id="7" name="object 2">
            <a:extLst>
              <a:ext uri="{FF2B5EF4-FFF2-40B4-BE49-F238E27FC236}">
                <a16:creationId xmlns:a16="http://schemas.microsoft.com/office/drawing/2014/main" id="{9B47F8FB-47C4-4245-1192-3C7CA3A8B093}"/>
              </a:ext>
            </a:extLst>
          </p:cNvPr>
          <p:cNvSpPr txBox="1">
            <a:spLocks/>
          </p:cNvSpPr>
          <p:nvPr/>
        </p:nvSpPr>
        <p:spPr>
          <a:xfrm>
            <a:off x="866606" y="1636989"/>
            <a:ext cx="8915401" cy="321242"/>
          </a:xfrm>
          <a:prstGeom prst="rect">
            <a:avLst/>
          </a:prstGeom>
        </p:spPr>
        <p:txBody>
          <a:bodyPr vert="horz" wrap="square" lIns="0" tIns="13335"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nSpc>
                <a:spcPct val="100000"/>
              </a:lnSpc>
              <a:spcBef>
                <a:spcPts val="940"/>
              </a:spcBef>
            </a:pPr>
            <a:r>
              <a:rPr lang="en-US" sz="2000" b="1">
                <a:solidFill>
                  <a:schemeClr val="accent6"/>
                </a:solidFill>
                <a:latin typeface="Tahoma"/>
                <a:cs typeface="Tahoma"/>
              </a:rPr>
              <a:t>Child Protection Unit in the Ministry of Education (</a:t>
            </a:r>
            <a:r>
              <a:rPr lang="en-US" sz="2000" b="1" err="1">
                <a:solidFill>
                  <a:schemeClr val="accent6"/>
                </a:solidFill>
                <a:latin typeface="Tahoma"/>
                <a:cs typeface="Tahoma"/>
              </a:rPr>
              <a:t>MoE</a:t>
            </a:r>
            <a:r>
              <a:rPr lang="en-US" sz="2000" b="1">
                <a:solidFill>
                  <a:schemeClr val="accent6"/>
                </a:solidFill>
                <a:latin typeface="Tahoma"/>
                <a:cs typeface="Tahoma"/>
              </a:rPr>
              <a:t>):</a:t>
            </a:r>
            <a:endParaRPr lang="en-US" sz="2000">
              <a:solidFill>
                <a:schemeClr val="accent6"/>
              </a:solidFill>
              <a:latin typeface="Tahoma"/>
              <a:cs typeface="Tahoma"/>
            </a:endParaRPr>
          </a:p>
        </p:txBody>
      </p:sp>
      <p:sp>
        <p:nvSpPr>
          <p:cNvPr id="11" name="object 22">
            <a:extLst>
              <a:ext uri="{FF2B5EF4-FFF2-40B4-BE49-F238E27FC236}">
                <a16:creationId xmlns:a16="http://schemas.microsoft.com/office/drawing/2014/main" id="{4D664106-9885-D366-1CD9-FFC21B5D4C3D}"/>
              </a:ext>
            </a:extLst>
          </p:cNvPr>
          <p:cNvSpPr txBox="1"/>
          <p:nvPr/>
        </p:nvSpPr>
        <p:spPr>
          <a:xfrm>
            <a:off x="866606" y="2128109"/>
            <a:ext cx="8915401" cy="7506542"/>
          </a:xfrm>
          <a:prstGeom prst="rect">
            <a:avLst/>
          </a:prstGeom>
          <a:noFill/>
        </p:spPr>
        <p:txBody>
          <a:bodyPr vert="horz" wrap="square" lIns="0" tIns="12065" rIns="0" bIns="0" numCol="1" rtlCol="0" anchor="t">
            <a:spAutoFit/>
          </a:bodyPr>
          <a:lstStyle/>
          <a:p>
            <a:pPr marL="12065" marR="60960" rtl="0">
              <a:spcBef>
                <a:spcPts val="600"/>
              </a:spcBef>
              <a:tabLst>
                <a:tab pos="221615" algn="l"/>
                <a:tab pos="222250" algn="l"/>
              </a:tabLst>
            </a:pPr>
            <a:r>
              <a:rPr lang="en-US" dirty="0">
                <a:solidFill>
                  <a:srgbClr val="666666"/>
                </a:solidFill>
              </a:rPr>
              <a:t>Articles 6 and 7 of the executive regulation of </a:t>
            </a:r>
            <a:r>
              <a:rPr lang="en-US" dirty="0" err="1">
                <a:solidFill>
                  <a:srgbClr val="666666"/>
                </a:solidFill>
              </a:rPr>
              <a:t>Wadeema’s</a:t>
            </a:r>
            <a:r>
              <a:rPr lang="en-US" dirty="0">
                <a:solidFill>
                  <a:srgbClr val="666666"/>
                </a:solidFill>
              </a:rPr>
              <a:t> Law outline the responsibilities of the Child Protection Unit within the Ministry of Education.</a:t>
            </a:r>
          </a:p>
          <a:p>
            <a:pPr marL="12065" marR="60960" rtl="0">
              <a:spcBef>
                <a:spcPts val="600"/>
              </a:spcBef>
              <a:tabLst>
                <a:tab pos="221615" algn="l"/>
                <a:tab pos="222250" algn="l"/>
              </a:tabLst>
            </a:pPr>
            <a:r>
              <a:rPr lang="en-US" dirty="0">
                <a:solidFill>
                  <a:srgbClr val="666666"/>
                </a:solidFill>
              </a:rPr>
              <a:t>The key roles and responsibilities of the Child Protection Unit in the Ministry of Education include the following:</a:t>
            </a:r>
          </a:p>
          <a:p>
            <a:pPr marL="354965" marR="60960" indent="-342900" rtl="0">
              <a:spcBef>
                <a:spcPts val="600"/>
              </a:spcBef>
              <a:buFont typeface="Arial"/>
              <a:buChar char="•"/>
              <a:tabLst>
                <a:tab pos="221615" algn="l"/>
                <a:tab pos="222250" algn="l"/>
              </a:tabLst>
            </a:pPr>
            <a:r>
              <a:rPr kumimoji="0" lang="en-US" b="0" i="0" u="none" strike="noStrike" kern="0" cap="none" spc="0" normalizeH="0" baseline="0" noProof="0" dirty="0">
                <a:ln>
                  <a:noFill/>
                </a:ln>
                <a:solidFill>
                  <a:srgbClr val="666666"/>
                </a:solidFill>
                <a:effectLst/>
                <a:uLnTx/>
                <a:uFillTx/>
                <a:latin typeface="Arial Unicode MS"/>
                <a:cs typeface="Arial Unicode MS"/>
              </a:rPr>
              <a:t>Develop, monitor, and enforce student protection policies and safeguarding measures.</a:t>
            </a:r>
          </a:p>
          <a:p>
            <a:pPr marL="354965" marR="60960" indent="-342900" rtl="0">
              <a:spcBef>
                <a:spcPts val="600"/>
              </a:spcBef>
              <a:buFont typeface="Arial"/>
              <a:buChar char="•"/>
              <a:tabLst>
                <a:tab pos="221615" algn="l"/>
                <a:tab pos="222250" algn="l"/>
              </a:tabLst>
            </a:pPr>
            <a:r>
              <a:rPr kumimoji="0" lang="en-US" b="0" i="0" u="none" strike="noStrike" kern="0" cap="none" spc="0" normalizeH="0" baseline="0" noProof="0" dirty="0">
                <a:ln>
                  <a:noFill/>
                </a:ln>
                <a:solidFill>
                  <a:srgbClr val="666666"/>
                </a:solidFill>
                <a:effectLst/>
                <a:uLnTx/>
                <a:uFillTx/>
                <a:latin typeface="Arial Unicode MS"/>
                <a:cs typeface="Arial Unicode MS"/>
              </a:rPr>
              <a:t>Support educational institutions in formulating their own student protection policies </a:t>
            </a:r>
            <a:r>
              <a:rPr lang="en-US" dirty="0">
                <a:solidFill>
                  <a:srgbClr val="666666"/>
                </a:solidFill>
                <a:latin typeface="Arial Unicode MS"/>
                <a:cs typeface="Arial Unicode MS"/>
              </a:rPr>
              <a:t>when </a:t>
            </a:r>
            <a:r>
              <a:rPr kumimoji="0" lang="en-US" b="0" i="0" u="none" strike="noStrike" kern="0" cap="none" spc="0" normalizeH="0" baseline="0" noProof="0" dirty="0">
                <a:ln>
                  <a:noFill/>
                </a:ln>
                <a:solidFill>
                  <a:srgbClr val="666666"/>
                </a:solidFill>
                <a:effectLst/>
                <a:uLnTx/>
                <a:uFillTx/>
                <a:latin typeface="Arial Unicode MS"/>
                <a:cs typeface="Arial Unicode MS"/>
              </a:rPr>
              <a:t>needed.</a:t>
            </a:r>
          </a:p>
          <a:p>
            <a:pPr marL="354965" marR="60960" indent="-342900" rtl="0">
              <a:spcBef>
                <a:spcPts val="600"/>
              </a:spcBef>
              <a:buFont typeface="Arial"/>
              <a:buChar char="•"/>
              <a:tabLst>
                <a:tab pos="221615" algn="l"/>
                <a:tab pos="222250" algn="l"/>
              </a:tabLst>
            </a:pPr>
            <a:r>
              <a:rPr lang="en-US" dirty="0">
                <a:solidFill>
                  <a:srgbClr val="666666"/>
                </a:solidFill>
              </a:rPr>
              <a:t>Establish standards for developing suitable intervention plans in educational institutions.</a:t>
            </a:r>
          </a:p>
          <a:p>
            <a:pPr marL="354965" marR="60960" indent="-342900" rtl="0">
              <a:spcBef>
                <a:spcPts val="600"/>
              </a:spcBef>
              <a:buFont typeface="Arial"/>
              <a:buChar char="•"/>
              <a:tabLst>
                <a:tab pos="221615" algn="l"/>
                <a:tab pos="222250" algn="l"/>
              </a:tabLst>
            </a:pPr>
            <a:r>
              <a:rPr lang="en-US" dirty="0">
                <a:solidFill>
                  <a:srgbClr val="666666"/>
                </a:solidFill>
              </a:rPr>
              <a:t>Ensure student protection standards are integrated in school inspection frameworks and provide the necessary support to institutions that do not meet standards </a:t>
            </a:r>
          </a:p>
          <a:p>
            <a:pPr marL="354965" marR="60960" indent="-342900" rtl="0">
              <a:spcBef>
                <a:spcPts val="600"/>
              </a:spcBef>
              <a:buFont typeface="Arial"/>
              <a:buChar char="•"/>
              <a:tabLst>
                <a:tab pos="221615" algn="l"/>
                <a:tab pos="222250" algn="l"/>
              </a:tabLst>
            </a:pPr>
            <a:r>
              <a:rPr lang="en-US" dirty="0">
                <a:solidFill>
                  <a:srgbClr val="666666"/>
                </a:solidFill>
              </a:rPr>
              <a:t>Collaborate with stakeholders to design and implement student maltreatment prevention programs.</a:t>
            </a:r>
          </a:p>
          <a:p>
            <a:pPr marL="354965" marR="60960" indent="-342900" rtl="0">
              <a:spcBef>
                <a:spcPts val="600"/>
              </a:spcBef>
              <a:buFont typeface="Arial"/>
              <a:buChar char="•"/>
              <a:tabLst>
                <a:tab pos="221615" algn="l"/>
                <a:tab pos="222250" algn="l"/>
              </a:tabLst>
            </a:pPr>
            <a:r>
              <a:rPr lang="en-US" dirty="0">
                <a:solidFill>
                  <a:srgbClr val="666666"/>
                </a:solidFill>
                <a:latin typeface="Arial Unicode MS"/>
                <a:cs typeface="Arial Unicode MS"/>
              </a:rPr>
              <a:t>Provide guidance to reporters and redirect them to the safety concern portal if they are reporting a child maltreatment concern.</a:t>
            </a:r>
          </a:p>
          <a:p>
            <a:pPr marL="354965" marR="60960" indent="-342900" rtl="0">
              <a:spcBef>
                <a:spcPts val="600"/>
              </a:spcBef>
              <a:buFont typeface="Arial"/>
              <a:buChar char="•"/>
              <a:tabLst>
                <a:tab pos="221615" algn="l"/>
                <a:tab pos="222250" algn="l"/>
              </a:tabLst>
            </a:pPr>
            <a:r>
              <a:rPr lang="en-US" dirty="0">
                <a:solidFill>
                  <a:srgbClr val="666666"/>
                </a:solidFill>
                <a:latin typeface="Arial Unicode MS"/>
                <a:ea typeface="Arial Unicode MS"/>
                <a:cs typeface="Arial Unicode MS"/>
              </a:rPr>
              <a:t>Receive reports of any violations of children's rights as stipulated by enforced legislations in the country.</a:t>
            </a:r>
          </a:p>
          <a:p>
            <a:pPr marL="354965" marR="60960" indent="-342900" rtl="0">
              <a:spcBef>
                <a:spcPts val="600"/>
              </a:spcBef>
              <a:buFont typeface="Arial"/>
              <a:buChar char="•"/>
              <a:tabLst>
                <a:tab pos="221615" algn="l"/>
                <a:tab pos="222250" algn="l"/>
              </a:tabLst>
            </a:pPr>
            <a:r>
              <a:rPr lang="en-US" dirty="0">
                <a:solidFill>
                  <a:srgbClr val="666666"/>
                </a:solidFill>
              </a:rPr>
              <a:t>Promote a culture focused on child rights to limit violations that may occur to children by all possible means.</a:t>
            </a:r>
          </a:p>
          <a:p>
            <a:pPr marL="354965" marR="60960" indent="-342900" rtl="0">
              <a:spcBef>
                <a:spcPts val="600"/>
              </a:spcBef>
              <a:buFont typeface="Arial"/>
              <a:buChar char="•"/>
              <a:tabLst>
                <a:tab pos="221615" algn="l"/>
                <a:tab pos="222250" algn="l"/>
              </a:tabLst>
            </a:pPr>
            <a:r>
              <a:rPr lang="en-US" dirty="0">
                <a:solidFill>
                  <a:srgbClr val="666666"/>
                </a:solidFill>
              </a:rPr>
              <a:t>Contribute to the reconciliation between the child and his/her parents, caregivers, or any other party, in which there is no violations of the law.</a:t>
            </a:r>
          </a:p>
          <a:p>
            <a:pPr marL="354965" marR="60960" indent="-342900" rtl="0">
              <a:spcBef>
                <a:spcPts val="600"/>
              </a:spcBef>
              <a:buFont typeface="Arial"/>
              <a:buChar char="•"/>
              <a:tabLst>
                <a:tab pos="221615" algn="l"/>
                <a:tab pos="222250" algn="l"/>
              </a:tabLst>
            </a:pPr>
            <a:r>
              <a:rPr lang="en-US" dirty="0">
                <a:solidFill>
                  <a:srgbClr val="666666"/>
                </a:solidFill>
              </a:rPr>
              <a:t>Follow-up and support investigations into crimes happening against the child if necessary.</a:t>
            </a:r>
          </a:p>
        </p:txBody>
      </p:sp>
    </p:spTree>
    <p:extLst>
      <p:ext uri="{BB962C8B-B14F-4D97-AF65-F5344CB8AC3E}">
        <p14:creationId xmlns:p14="http://schemas.microsoft.com/office/powerpoint/2010/main" val="4572827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3662DC6D-8449-E4E5-B848-64A1C103A655}"/>
              </a:ext>
            </a:extLst>
          </p:cNvPr>
          <p:cNvSpPr txBox="1">
            <a:spLocks/>
          </p:cNvSpPr>
          <p:nvPr/>
        </p:nvSpPr>
        <p:spPr>
          <a:xfrm>
            <a:off x="679449" y="681026"/>
            <a:ext cx="12801600" cy="567463"/>
          </a:xfrm>
          <a:prstGeom prst="rect">
            <a:avLst/>
          </a:prstGeom>
        </p:spPr>
        <p:txBody>
          <a:bodyPr vert="horz" wrap="square" lIns="0" tIns="1333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nSpc>
                <a:spcPct val="100000"/>
              </a:lnSpc>
              <a:spcBef>
                <a:spcPts val="1630"/>
              </a:spcBef>
            </a:pPr>
            <a:r>
              <a:rPr lang="en-US" sz="3600" b="1">
                <a:solidFill>
                  <a:srgbClr val="1F2055"/>
                </a:solidFill>
                <a:latin typeface="Tahoma"/>
                <a:cs typeface="Tahoma"/>
              </a:rPr>
              <a:t>ROLES AND RESPONSIBILITIES</a:t>
            </a:r>
            <a:endParaRPr lang="en-US" sz="3600">
              <a:latin typeface="Tahoma"/>
              <a:cs typeface="Tahoma"/>
            </a:endParaRPr>
          </a:p>
        </p:txBody>
      </p:sp>
      <p:grpSp>
        <p:nvGrpSpPr>
          <p:cNvPr id="25" name="Group 24">
            <a:extLst>
              <a:ext uri="{FF2B5EF4-FFF2-40B4-BE49-F238E27FC236}">
                <a16:creationId xmlns:a16="http://schemas.microsoft.com/office/drawing/2014/main" id="{A00B6F18-4916-12A1-4D0D-44A405FCE084}"/>
              </a:ext>
            </a:extLst>
          </p:cNvPr>
          <p:cNvGrpSpPr/>
          <p:nvPr/>
        </p:nvGrpSpPr>
        <p:grpSpPr>
          <a:xfrm>
            <a:off x="688805" y="1636989"/>
            <a:ext cx="9729548" cy="10296733"/>
            <a:chOff x="10165601" y="1636989"/>
            <a:chExt cx="9729548" cy="10296733"/>
          </a:xfrm>
        </p:grpSpPr>
        <p:sp>
          <p:nvSpPr>
            <p:cNvPr id="13" name="object 22">
              <a:extLst>
                <a:ext uri="{FF2B5EF4-FFF2-40B4-BE49-F238E27FC236}">
                  <a16:creationId xmlns:a16="http://schemas.microsoft.com/office/drawing/2014/main" id="{1774037D-6E0B-C420-689A-7129F8BF09F9}"/>
                </a:ext>
              </a:extLst>
            </p:cNvPr>
            <p:cNvSpPr txBox="1"/>
            <p:nvPr/>
          </p:nvSpPr>
          <p:spPr>
            <a:xfrm>
              <a:off x="10165601" y="2334299"/>
              <a:ext cx="9729548" cy="9599423"/>
            </a:xfrm>
            <a:prstGeom prst="rect">
              <a:avLst/>
            </a:prstGeom>
            <a:noFill/>
          </p:spPr>
          <p:txBody>
            <a:bodyPr vert="horz" wrap="square" lIns="0" tIns="12065" rIns="0" bIns="0" numCol="1" rtlCol="0">
              <a:spAutoFit/>
            </a:bodyPr>
            <a:lstStyle/>
            <a:p>
              <a:pPr marL="297815" marR="60960" indent="-285750">
                <a:spcBef>
                  <a:spcPts val="600"/>
                </a:spcBef>
                <a:buFont typeface="Arial" panose="020B0604020202020204" pitchFamily="34" charset="0"/>
                <a:buChar char="•"/>
                <a:tabLst>
                  <a:tab pos="221615" algn="l"/>
                  <a:tab pos="222250" algn="l"/>
                </a:tabLst>
              </a:pPr>
              <a:r>
                <a:rPr lang="en-US">
                  <a:solidFill>
                    <a:srgbClr val="666666"/>
                  </a:solidFill>
                  <a:latin typeface="Arial Unicode MS"/>
                  <a:cs typeface="Arial Unicode MS"/>
                </a:rPr>
                <a:t>Develop, monitor, and enforce student protection policies, procedures, and safeguarding measures.</a:t>
              </a:r>
            </a:p>
            <a:p>
              <a:pPr marL="297815" marR="60960" indent="-285750">
                <a:spcBef>
                  <a:spcPts val="600"/>
                </a:spcBef>
                <a:buFont typeface="Arial" panose="020B0604020202020204" pitchFamily="34" charset="0"/>
                <a:buChar char="•"/>
                <a:tabLst>
                  <a:tab pos="221615" algn="l"/>
                  <a:tab pos="222250" algn="l"/>
                </a:tabLst>
              </a:pPr>
              <a:r>
                <a:rPr kumimoji="0" lang="en-US" sz="1800" b="0" i="0" u="none" strike="noStrike" kern="0" cap="none" spc="0" normalizeH="0" baseline="0" noProof="0">
                  <a:ln>
                    <a:noFill/>
                  </a:ln>
                  <a:solidFill>
                    <a:srgbClr val="666666"/>
                  </a:solidFill>
                  <a:effectLst/>
                  <a:uLnTx/>
                  <a:uFillTx/>
                  <a:latin typeface="Arial Unicode MS"/>
                  <a:cs typeface="Arial Unicode MS"/>
                </a:rPr>
                <a:t>Support educational institutions in formulating their own student protection policies as needed.</a:t>
              </a:r>
            </a:p>
            <a:p>
              <a:pPr marL="354965" marR="60960" indent="-342900" rtl="0">
                <a:spcBef>
                  <a:spcPts val="600"/>
                </a:spcBef>
                <a:buFont typeface="Arial"/>
                <a:buChar char="•"/>
                <a:tabLst>
                  <a:tab pos="221615" algn="l"/>
                  <a:tab pos="222250" algn="l"/>
                </a:tabLst>
              </a:pPr>
              <a:r>
                <a:rPr lang="en-US">
                  <a:solidFill>
                    <a:srgbClr val="666666"/>
                  </a:solidFill>
                </a:rPr>
                <a:t>Ensure student protection standards are integrated in school inspection frameworks and provide the necessary support to institutions that do not meet standards </a:t>
              </a:r>
            </a:p>
            <a:p>
              <a:pPr marL="297815" marR="60960" indent="-285750">
                <a:spcBef>
                  <a:spcPts val="600"/>
                </a:spcBef>
                <a:buFont typeface="Arial" panose="020B0604020202020204" pitchFamily="34" charset="0"/>
                <a:buChar char="•"/>
                <a:tabLst>
                  <a:tab pos="221615" algn="l"/>
                  <a:tab pos="222250" algn="l"/>
                </a:tabLst>
              </a:pPr>
              <a:r>
                <a:rPr lang="en-US">
                  <a:solidFill>
                    <a:srgbClr val="666666"/>
                  </a:solidFill>
                  <a:latin typeface="Arial Unicode MS"/>
                  <a:cs typeface="Arial Unicode MS"/>
                </a:rPr>
                <a:t>Collaborate with relevant entities on the design and implementation of maltreatment prevention programs.</a:t>
              </a:r>
            </a:p>
            <a:p>
              <a:pPr marL="297815" marR="60960" lvl="0" indent="-285750" defTabSz="914400" eaLnBrk="1" fontAlgn="auto" latinLnBrk="0" hangingPunct="1">
                <a:lnSpc>
                  <a:spcPct val="100000"/>
                </a:lnSpc>
                <a:spcBef>
                  <a:spcPts val="600"/>
                </a:spcBef>
                <a:spcAft>
                  <a:spcPts val="0"/>
                </a:spcAft>
                <a:buClrTx/>
                <a:buSzTx/>
                <a:buFont typeface="Arial" panose="020B0604020202020204" pitchFamily="34" charset="0"/>
                <a:buChar char="•"/>
                <a:tabLst>
                  <a:tab pos="221615" algn="l"/>
                  <a:tab pos="222250" algn="l"/>
                </a:tabLst>
                <a:defRPr/>
              </a:pPr>
              <a:r>
                <a:rPr lang="en-US">
                  <a:solidFill>
                    <a:srgbClr val="666666"/>
                  </a:solidFill>
                </a:rPr>
                <a:t>Receive and review reports of concerns that threaten the child or threaten his/her physical, psychological, moral or mental safety or safety, including student maltreatment.</a:t>
              </a:r>
            </a:p>
            <a:p>
              <a:pPr marL="297815" marR="60960" indent="-285750">
                <a:spcBef>
                  <a:spcPts val="600"/>
                </a:spcBef>
                <a:buFont typeface="Arial" panose="020B0604020202020204" pitchFamily="34" charset="0"/>
                <a:buChar char="•"/>
                <a:tabLst>
                  <a:tab pos="221615" algn="l"/>
                  <a:tab pos="222250" algn="l"/>
                </a:tabLst>
                <a:defRPr/>
              </a:pPr>
              <a:r>
                <a:rPr lang="en-US">
                  <a:solidFill>
                    <a:srgbClr val="666666"/>
                  </a:solidFill>
                </a:rPr>
                <a:t>Implement appropriate preventive measures to protect the child subject to the report.</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a:solidFill>
                    <a:srgbClr val="666666"/>
                  </a:solidFill>
                </a:rPr>
                <a:t>Develop suitable preventive plans within the jurisdiction of educational entities, providing consultation and support to families and children subjected to maltreatment, or violence, or exploitation and introducing them to effective educational foundations for dealing with children.</a:t>
              </a:r>
            </a:p>
            <a:p>
              <a:pPr marL="297815" marR="60960" indent="-285750">
                <a:spcBef>
                  <a:spcPts val="600"/>
                </a:spcBef>
                <a:buFont typeface="Arial" panose="020B0604020202020204" pitchFamily="34" charset="0"/>
                <a:buChar char="•"/>
                <a:tabLst>
                  <a:tab pos="221615" algn="l"/>
                  <a:tab pos="222250" algn="l"/>
                </a:tabLst>
                <a:defRPr/>
              </a:pPr>
              <a:r>
                <a:rPr lang="en-US">
                  <a:solidFill>
                    <a:srgbClr val="666666"/>
                  </a:solidFill>
                </a:rPr>
                <a:t>Coordinate with the relevant entities to provide psychological, social and health treatment for children who have been exposed to what threatens the child or threatens his/her physical, psychological, moral or mental safety or safety, including maltreatment.</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a:solidFill>
                    <a:srgbClr val="666666"/>
                  </a:solidFill>
                </a:rPr>
                <a:t>Follow-up with families and children throughout the protection process, provide them with the necessary requirements, assess their conditions to determine the progress of their case, and provide them with necessary recommendations in collaboration with the FCA.</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a:solidFill>
                    <a:srgbClr val="666666"/>
                  </a:solidFill>
                </a:rPr>
                <a:t>Coordinate with relevant entities and specialized departments to search and investigate missing children from their families and residences. </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a:solidFill>
                    <a:srgbClr val="666666"/>
                  </a:solidFill>
                </a:rPr>
                <a:t>Take the necessary measure in cases of suspected threats to the child or threat to his/her physical, psychological, moral or mental safety, including the maltreatment of a student by an employee of the educational institution.</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a:solidFill>
                    <a:srgbClr val="666666"/>
                  </a:solidFill>
                </a:rPr>
                <a:t>Activate bullying prevention programs and activate bullying prevention policy in the school environment. </a:t>
              </a:r>
            </a:p>
            <a:p>
              <a:pPr marL="297815" marR="60960" lvl="0" indent="-285750" defTabSz="914400" eaLnBrk="1" fontAlgn="auto" latinLnBrk="0" hangingPunct="1">
                <a:lnSpc>
                  <a:spcPct val="100000"/>
                </a:lnSpc>
                <a:spcBef>
                  <a:spcPts val="600"/>
                </a:spcBef>
                <a:spcAft>
                  <a:spcPts val="0"/>
                </a:spcAft>
                <a:buClrTx/>
                <a:buSzTx/>
                <a:buFont typeface="Arial" panose="020B0604020202020204" pitchFamily="34" charset="0"/>
                <a:buChar char="•"/>
                <a:tabLst>
                  <a:tab pos="221615" algn="l"/>
                  <a:tab pos="222250" algn="l"/>
                </a:tabLst>
                <a:defRPr/>
              </a:pPr>
              <a:endParaRPr kumimoji="0" lang="en-US" b="0" i="0" u="none" strike="noStrike" kern="0" cap="none" spc="0" normalizeH="0" baseline="0" noProof="0">
                <a:ln>
                  <a:noFill/>
                </a:ln>
                <a:solidFill>
                  <a:srgbClr val="666666"/>
                </a:solidFill>
                <a:effectLst/>
                <a:highlight>
                  <a:srgbClr val="FFFF00"/>
                </a:highlight>
                <a:uLnTx/>
                <a:uFillTx/>
                <a:latin typeface="Arial Unicode MS"/>
                <a:cs typeface="Arial Unicode MS"/>
              </a:endParaRPr>
            </a:p>
            <a:p>
              <a:pPr marL="297815" marR="60960" lvl="0" indent="-285750" defTabSz="914400" eaLnBrk="1" fontAlgn="auto" latinLnBrk="0" hangingPunct="1">
                <a:lnSpc>
                  <a:spcPct val="100000"/>
                </a:lnSpc>
                <a:spcBef>
                  <a:spcPts val="600"/>
                </a:spcBef>
                <a:spcAft>
                  <a:spcPts val="0"/>
                </a:spcAft>
                <a:buClrTx/>
                <a:buSzTx/>
                <a:buFont typeface="Arial" panose="020B0604020202020204" pitchFamily="34" charset="0"/>
                <a:buChar char="•"/>
                <a:tabLst>
                  <a:tab pos="221615" algn="l"/>
                  <a:tab pos="222250" algn="l"/>
                </a:tabLst>
                <a:defRPr/>
              </a:pPr>
              <a:endParaRPr kumimoji="0" lang="en-US" b="0" i="0" u="none" strike="noStrike" kern="0" cap="none" spc="0" normalizeH="0" baseline="0" noProof="0">
                <a:ln>
                  <a:noFill/>
                </a:ln>
                <a:solidFill>
                  <a:srgbClr val="666666"/>
                </a:solidFill>
                <a:effectLst/>
                <a:highlight>
                  <a:srgbClr val="FFFF00"/>
                </a:highlight>
                <a:uLnTx/>
                <a:uFillTx/>
                <a:latin typeface="Arial Unicode MS"/>
                <a:cs typeface="Arial Unicode MS"/>
              </a:endParaRPr>
            </a:p>
          </p:txBody>
        </p:sp>
        <p:sp>
          <p:nvSpPr>
            <p:cNvPr id="14" name="object 2">
              <a:extLst>
                <a:ext uri="{FF2B5EF4-FFF2-40B4-BE49-F238E27FC236}">
                  <a16:creationId xmlns:a16="http://schemas.microsoft.com/office/drawing/2014/main" id="{841DE0B4-E165-5CF2-1209-CCA2CFBEBFD3}"/>
                </a:ext>
              </a:extLst>
            </p:cNvPr>
            <p:cNvSpPr txBox="1">
              <a:spLocks/>
            </p:cNvSpPr>
            <p:nvPr/>
          </p:nvSpPr>
          <p:spPr>
            <a:xfrm>
              <a:off x="10165602" y="1636989"/>
              <a:ext cx="8915401" cy="629018"/>
            </a:xfrm>
            <a:prstGeom prst="rect">
              <a:avLst/>
            </a:prstGeom>
          </p:spPr>
          <p:txBody>
            <a:bodyPr vert="horz" wrap="square" lIns="0" tIns="1333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nSpc>
                  <a:spcPct val="100000"/>
                </a:lnSpc>
                <a:spcBef>
                  <a:spcPts val="110"/>
                </a:spcBef>
              </a:pPr>
              <a:r>
                <a:rPr lang="en-US" sz="2000" b="1">
                  <a:solidFill>
                    <a:schemeClr val="accent6"/>
                  </a:solidFill>
                  <a:latin typeface="Tahoma"/>
                  <a:cs typeface="Tahoma"/>
                </a:rPr>
                <a:t>Child Protection Unit in Abu Dhabi Department of Education and Knowledge (ADEK):</a:t>
              </a:r>
              <a:endParaRPr lang="en-US" sz="2000">
                <a:solidFill>
                  <a:schemeClr val="accent6"/>
                </a:solidFill>
                <a:latin typeface="Tahoma"/>
                <a:cs typeface="Tahoma"/>
              </a:endParaRPr>
            </a:p>
          </p:txBody>
        </p:sp>
      </p:grpSp>
      <p:grpSp>
        <p:nvGrpSpPr>
          <p:cNvPr id="3" name="Graphic 5">
            <a:extLst>
              <a:ext uri="{FF2B5EF4-FFF2-40B4-BE49-F238E27FC236}">
                <a16:creationId xmlns:a16="http://schemas.microsoft.com/office/drawing/2014/main" id="{C2B9D5A3-D01D-A286-151B-EA3FBB2D3425}"/>
              </a:ext>
            </a:extLst>
          </p:cNvPr>
          <p:cNvGrpSpPr/>
          <p:nvPr/>
        </p:nvGrpSpPr>
        <p:grpSpPr>
          <a:xfrm flipH="1">
            <a:off x="10169292" y="10433509"/>
            <a:ext cx="823504" cy="875841"/>
            <a:chOff x="15481147" y="3656641"/>
            <a:chExt cx="2200617" cy="2340475"/>
          </a:xfrm>
        </p:grpSpPr>
        <p:sp>
          <p:nvSpPr>
            <p:cNvPr id="4" name="Freeform 3">
              <a:extLst>
                <a:ext uri="{FF2B5EF4-FFF2-40B4-BE49-F238E27FC236}">
                  <a16:creationId xmlns:a16="http://schemas.microsoft.com/office/drawing/2014/main" id="{AEEE07D1-B95B-D1C6-C2A5-64D9C3165D68}"/>
                </a:ext>
              </a:extLst>
            </p:cNvPr>
            <p:cNvSpPr/>
            <p:nvPr/>
          </p:nvSpPr>
          <p:spPr>
            <a:xfrm>
              <a:off x="15481147" y="3656641"/>
              <a:ext cx="2200617" cy="2340475"/>
            </a:xfrm>
            <a:custGeom>
              <a:avLst/>
              <a:gdLst>
                <a:gd name="connsiteX0" fmla="*/ 0 w 2200617"/>
                <a:gd name="connsiteY0" fmla="*/ 0 h 2340475"/>
                <a:gd name="connsiteX1" fmla="*/ 2200618 w 2200617"/>
                <a:gd name="connsiteY1" fmla="*/ 0 h 2340475"/>
                <a:gd name="connsiteX2" fmla="*/ 2200618 w 2200617"/>
                <a:gd name="connsiteY2" fmla="*/ 2340476 h 2340475"/>
                <a:gd name="connsiteX3" fmla="*/ 0 w 2200617"/>
                <a:gd name="connsiteY3" fmla="*/ 2340476 h 2340475"/>
              </a:gdLst>
              <a:ahLst/>
              <a:cxnLst>
                <a:cxn ang="0">
                  <a:pos x="connsiteX0" y="connsiteY0"/>
                </a:cxn>
                <a:cxn ang="0">
                  <a:pos x="connsiteX1" y="connsiteY1"/>
                </a:cxn>
                <a:cxn ang="0">
                  <a:pos x="connsiteX2" y="connsiteY2"/>
                </a:cxn>
                <a:cxn ang="0">
                  <a:pos x="connsiteX3" y="connsiteY3"/>
                </a:cxn>
              </a:cxnLst>
              <a:rect l="l" t="t" r="r" b="b"/>
              <a:pathLst>
                <a:path w="2200617" h="2340475">
                  <a:moveTo>
                    <a:pt x="0" y="0"/>
                  </a:moveTo>
                  <a:lnTo>
                    <a:pt x="2200618" y="0"/>
                  </a:lnTo>
                  <a:lnTo>
                    <a:pt x="2200618" y="2340476"/>
                  </a:lnTo>
                  <a:lnTo>
                    <a:pt x="0" y="2340476"/>
                  </a:lnTo>
                  <a:close/>
                </a:path>
              </a:pathLst>
            </a:custGeom>
            <a:solidFill>
              <a:srgbClr val="C85933"/>
            </a:solidFill>
            <a:ln w="148590" cap="flat">
              <a:noFill/>
              <a:prstDash val="solid"/>
              <a:miter/>
            </a:ln>
          </p:spPr>
          <p:txBody>
            <a:bodyPr rtlCol="0" anchor="ctr"/>
            <a:lstStyle/>
            <a:p>
              <a:pPr algn="l" rtl="0"/>
              <a:endParaRPr lang="en-AE"/>
            </a:p>
          </p:txBody>
        </p:sp>
        <p:sp>
          <p:nvSpPr>
            <p:cNvPr id="8" name="Freeform 7">
              <a:extLst>
                <a:ext uri="{FF2B5EF4-FFF2-40B4-BE49-F238E27FC236}">
                  <a16:creationId xmlns:a16="http://schemas.microsoft.com/office/drawing/2014/main" id="{B8353A9E-22B5-5381-CCF7-B8FF113F1D81}"/>
                </a:ext>
              </a:extLst>
            </p:cNvPr>
            <p:cNvSpPr/>
            <p:nvPr/>
          </p:nvSpPr>
          <p:spPr>
            <a:xfrm>
              <a:off x="15994767" y="4348036"/>
              <a:ext cx="1186864" cy="989585"/>
            </a:xfrm>
            <a:custGeom>
              <a:avLst/>
              <a:gdLst>
                <a:gd name="connsiteX0" fmla="*/ 370490 w 1186864"/>
                <a:gd name="connsiteY0" fmla="*/ 989586 h 989585"/>
                <a:gd name="connsiteX1" fmla="*/ 48050 w 1186864"/>
                <a:gd name="connsiteY1" fmla="*/ 527939 h 989585"/>
                <a:gd name="connsiteX2" fmla="*/ 51022 w 1186864"/>
                <a:gd name="connsiteY2" fmla="*/ 121983 h 989585"/>
                <a:gd name="connsiteX3" fmla="*/ 367519 w 1186864"/>
                <a:gd name="connsiteY3" fmla="*/ 6205 h 989585"/>
                <a:gd name="connsiteX4" fmla="*/ 599319 w 1186864"/>
                <a:gd name="connsiteY4" fmla="*/ 214312 h 989585"/>
                <a:gd name="connsiteX5" fmla="*/ 872725 w 1186864"/>
                <a:gd name="connsiteY5" fmla="*/ 113189 h 989585"/>
                <a:gd name="connsiteX6" fmla="*/ 1132757 w 1186864"/>
                <a:gd name="connsiteY6" fmla="*/ 224571 h 989585"/>
                <a:gd name="connsiteX7" fmla="*/ 1175848 w 1186864"/>
                <a:gd name="connsiteY7" fmla="*/ 492766 h 989585"/>
                <a:gd name="connsiteX8" fmla="*/ 1037659 w 1186864"/>
                <a:gd name="connsiteY8" fmla="*/ 706735 h 989585"/>
                <a:gd name="connsiteX9" fmla="*/ 370490 w 1186864"/>
                <a:gd name="connsiteY9" fmla="*/ 988120 h 98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6864" h="989585">
                  <a:moveTo>
                    <a:pt x="370490" y="989586"/>
                  </a:moveTo>
                  <a:cubicBezTo>
                    <a:pt x="204069" y="847428"/>
                    <a:pt x="117887" y="716994"/>
                    <a:pt x="48050" y="527939"/>
                  </a:cubicBezTo>
                  <a:cubicBezTo>
                    <a:pt x="-985" y="394574"/>
                    <a:pt x="-30703" y="239226"/>
                    <a:pt x="51022" y="121983"/>
                  </a:cubicBezTo>
                  <a:cubicBezTo>
                    <a:pt x="116401" y="26722"/>
                    <a:pt x="250132" y="-17244"/>
                    <a:pt x="367519" y="6205"/>
                  </a:cubicBezTo>
                  <a:cubicBezTo>
                    <a:pt x="484905" y="29653"/>
                    <a:pt x="522052" y="110258"/>
                    <a:pt x="599319" y="214312"/>
                  </a:cubicBezTo>
                  <a:cubicBezTo>
                    <a:pt x="676586" y="155690"/>
                    <a:pt x="774655" y="119051"/>
                    <a:pt x="872725" y="113189"/>
                  </a:cubicBezTo>
                  <a:cubicBezTo>
                    <a:pt x="970794" y="107327"/>
                    <a:pt x="1076293" y="146897"/>
                    <a:pt x="1132757" y="224571"/>
                  </a:cubicBezTo>
                  <a:cubicBezTo>
                    <a:pt x="1184763" y="294917"/>
                    <a:pt x="1199623" y="412161"/>
                    <a:pt x="1175848" y="492766"/>
                  </a:cubicBezTo>
                  <a:cubicBezTo>
                    <a:pt x="1152074" y="573371"/>
                    <a:pt x="1098581" y="645182"/>
                    <a:pt x="1037659" y="706735"/>
                  </a:cubicBezTo>
                  <a:cubicBezTo>
                    <a:pt x="859351" y="886997"/>
                    <a:pt x="571087" y="992516"/>
                    <a:pt x="370490" y="988120"/>
                  </a:cubicBezTo>
                  <a:close/>
                </a:path>
              </a:pathLst>
            </a:custGeom>
            <a:solidFill>
              <a:srgbClr val="FFFFFF"/>
            </a:solidFill>
            <a:ln w="148590" cap="flat">
              <a:noFill/>
              <a:prstDash val="solid"/>
              <a:miter/>
            </a:ln>
          </p:spPr>
          <p:txBody>
            <a:bodyPr rtlCol="0" anchor="ctr"/>
            <a:lstStyle/>
            <a:p>
              <a:pPr algn="l" rtl="0"/>
              <a:endParaRPr lang="en-AE"/>
            </a:p>
          </p:txBody>
        </p:sp>
      </p:grpSp>
      <p:grpSp>
        <p:nvGrpSpPr>
          <p:cNvPr id="9" name="Graphic 5">
            <a:extLst>
              <a:ext uri="{FF2B5EF4-FFF2-40B4-BE49-F238E27FC236}">
                <a16:creationId xmlns:a16="http://schemas.microsoft.com/office/drawing/2014/main" id="{A67A7189-86FC-9059-4378-48A46EBA4785}"/>
              </a:ext>
            </a:extLst>
          </p:cNvPr>
          <p:cNvGrpSpPr/>
          <p:nvPr/>
        </p:nvGrpSpPr>
        <p:grpSpPr>
          <a:xfrm flipH="1">
            <a:off x="9175419" y="0"/>
            <a:ext cx="838861" cy="1040776"/>
            <a:chOff x="16121570" y="5997117"/>
            <a:chExt cx="2200617" cy="2730310"/>
          </a:xfrm>
        </p:grpSpPr>
        <p:sp>
          <p:nvSpPr>
            <p:cNvPr id="10" name="Freeform 9">
              <a:extLst>
                <a:ext uri="{FF2B5EF4-FFF2-40B4-BE49-F238E27FC236}">
                  <a16:creationId xmlns:a16="http://schemas.microsoft.com/office/drawing/2014/main" id="{FFA7FEE4-3EC1-0CE8-00A9-08C1D5F77BD7}"/>
                </a:ext>
              </a:extLst>
            </p:cNvPr>
            <p:cNvSpPr/>
            <p:nvPr/>
          </p:nvSpPr>
          <p:spPr>
            <a:xfrm>
              <a:off x="16121570" y="5997117"/>
              <a:ext cx="2200617" cy="2730310"/>
            </a:xfrm>
            <a:custGeom>
              <a:avLst/>
              <a:gdLst>
                <a:gd name="connsiteX0" fmla="*/ 0 w 2200617"/>
                <a:gd name="connsiteY0" fmla="*/ 0 h 2730310"/>
                <a:gd name="connsiteX1" fmla="*/ 2200618 w 2200617"/>
                <a:gd name="connsiteY1" fmla="*/ 0 h 2730310"/>
                <a:gd name="connsiteX2" fmla="*/ 2200618 w 2200617"/>
                <a:gd name="connsiteY2" fmla="*/ 2730311 h 2730310"/>
                <a:gd name="connsiteX3" fmla="*/ 0 w 2200617"/>
                <a:gd name="connsiteY3" fmla="*/ 2730311 h 2730310"/>
              </a:gdLst>
              <a:ahLst/>
              <a:cxnLst>
                <a:cxn ang="0">
                  <a:pos x="connsiteX0" y="connsiteY0"/>
                </a:cxn>
                <a:cxn ang="0">
                  <a:pos x="connsiteX1" y="connsiteY1"/>
                </a:cxn>
                <a:cxn ang="0">
                  <a:pos x="connsiteX2" y="connsiteY2"/>
                </a:cxn>
                <a:cxn ang="0">
                  <a:pos x="connsiteX3" y="connsiteY3"/>
                </a:cxn>
              </a:cxnLst>
              <a:rect l="l" t="t" r="r" b="b"/>
              <a:pathLst>
                <a:path w="2200617" h="2730310">
                  <a:moveTo>
                    <a:pt x="0" y="0"/>
                  </a:moveTo>
                  <a:lnTo>
                    <a:pt x="2200618" y="0"/>
                  </a:lnTo>
                  <a:lnTo>
                    <a:pt x="2200618" y="2730311"/>
                  </a:lnTo>
                  <a:lnTo>
                    <a:pt x="0" y="2730311"/>
                  </a:lnTo>
                  <a:close/>
                </a:path>
              </a:pathLst>
            </a:custGeom>
            <a:solidFill>
              <a:schemeClr val="accent6"/>
            </a:solidFill>
            <a:ln w="148590" cap="flat">
              <a:noFill/>
              <a:prstDash val="solid"/>
              <a:miter/>
            </a:ln>
          </p:spPr>
          <p:txBody>
            <a:bodyPr rtlCol="0" anchor="ctr"/>
            <a:lstStyle/>
            <a:p>
              <a:pPr algn="l" rtl="0"/>
              <a:endParaRPr lang="en-AE"/>
            </a:p>
          </p:txBody>
        </p:sp>
        <p:sp>
          <p:nvSpPr>
            <p:cNvPr id="12" name="Freeform 11">
              <a:extLst>
                <a:ext uri="{FF2B5EF4-FFF2-40B4-BE49-F238E27FC236}">
                  <a16:creationId xmlns:a16="http://schemas.microsoft.com/office/drawing/2014/main" id="{5140AA29-372B-B5F4-AAB4-38B60228FB29}"/>
                </a:ext>
              </a:extLst>
            </p:cNvPr>
            <p:cNvSpPr/>
            <p:nvPr/>
          </p:nvSpPr>
          <p:spPr>
            <a:xfrm>
              <a:off x="16439553" y="6594456"/>
              <a:ext cx="1564652" cy="1549081"/>
            </a:xfrm>
            <a:custGeom>
              <a:avLst/>
              <a:gdLst>
                <a:gd name="connsiteX0" fmla="*/ 781583 w 1564652"/>
                <a:gd name="connsiteY0" fmla="*/ 5862 h 1549081"/>
                <a:gd name="connsiteX1" fmla="*/ 699859 w 1564652"/>
                <a:gd name="connsiteY1" fmla="*/ 86467 h 1549081"/>
                <a:gd name="connsiteX2" fmla="*/ 699859 w 1564652"/>
                <a:gd name="connsiteY2" fmla="*/ 408887 h 1549081"/>
                <a:gd name="connsiteX3" fmla="*/ 563156 w 1564652"/>
                <a:gd name="connsiteY3" fmla="*/ 115778 h 1549081"/>
                <a:gd name="connsiteX4" fmla="*/ 456171 w 1564652"/>
                <a:gd name="connsiteY4" fmla="*/ 76208 h 1549081"/>
                <a:gd name="connsiteX5" fmla="*/ 416052 w 1564652"/>
                <a:gd name="connsiteY5" fmla="*/ 181728 h 1549081"/>
                <a:gd name="connsiteX6" fmla="*/ 520065 w 1564652"/>
                <a:gd name="connsiteY6" fmla="*/ 405956 h 1549081"/>
                <a:gd name="connsiteX7" fmla="*/ 343243 w 1564652"/>
                <a:gd name="connsiteY7" fmla="*/ 231556 h 1549081"/>
                <a:gd name="connsiteX8" fmla="*/ 228829 w 1564652"/>
                <a:gd name="connsiteY8" fmla="*/ 231556 h 1549081"/>
                <a:gd name="connsiteX9" fmla="*/ 228829 w 1564652"/>
                <a:gd name="connsiteY9" fmla="*/ 344403 h 1549081"/>
                <a:gd name="connsiteX10" fmla="*/ 402679 w 1564652"/>
                <a:gd name="connsiteY10" fmla="*/ 515872 h 1549081"/>
                <a:gd name="connsiteX11" fmla="*/ 179794 w 1564652"/>
                <a:gd name="connsiteY11" fmla="*/ 414750 h 1549081"/>
                <a:gd name="connsiteX12" fmla="*/ 71323 w 1564652"/>
                <a:gd name="connsiteY12" fmla="*/ 454319 h 1549081"/>
                <a:gd name="connsiteX13" fmla="*/ 111443 w 1564652"/>
                <a:gd name="connsiteY13" fmla="*/ 561304 h 1549081"/>
                <a:gd name="connsiteX14" fmla="*/ 411594 w 1564652"/>
                <a:gd name="connsiteY14" fmla="*/ 697600 h 1549081"/>
                <a:gd name="connsiteX15" fmla="*/ 81724 w 1564652"/>
                <a:gd name="connsiteY15" fmla="*/ 697600 h 1549081"/>
                <a:gd name="connsiteX16" fmla="*/ 0 w 1564652"/>
                <a:gd name="connsiteY16" fmla="*/ 778205 h 1549081"/>
                <a:gd name="connsiteX17" fmla="*/ 81724 w 1564652"/>
                <a:gd name="connsiteY17" fmla="*/ 858810 h 1549081"/>
                <a:gd name="connsiteX18" fmla="*/ 408623 w 1564652"/>
                <a:gd name="connsiteY18" fmla="*/ 858810 h 1549081"/>
                <a:gd name="connsiteX19" fmla="*/ 111443 w 1564652"/>
                <a:gd name="connsiteY19" fmla="*/ 993640 h 1549081"/>
                <a:gd name="connsiteX20" fmla="*/ 71323 w 1564652"/>
                <a:gd name="connsiteY20" fmla="*/ 1099159 h 1549081"/>
                <a:gd name="connsiteX21" fmla="*/ 178308 w 1564652"/>
                <a:gd name="connsiteY21" fmla="*/ 1138729 h 1549081"/>
                <a:gd name="connsiteX22" fmla="*/ 405651 w 1564652"/>
                <a:gd name="connsiteY22" fmla="*/ 1036140 h 1549081"/>
                <a:gd name="connsiteX23" fmla="*/ 228829 w 1564652"/>
                <a:gd name="connsiteY23" fmla="*/ 1210541 h 1549081"/>
                <a:gd name="connsiteX24" fmla="*/ 228829 w 1564652"/>
                <a:gd name="connsiteY24" fmla="*/ 1323388 h 1549081"/>
                <a:gd name="connsiteX25" fmla="*/ 343243 w 1564652"/>
                <a:gd name="connsiteY25" fmla="*/ 1323388 h 1549081"/>
                <a:gd name="connsiteX26" fmla="*/ 517093 w 1564652"/>
                <a:gd name="connsiteY26" fmla="*/ 1151919 h 1549081"/>
                <a:gd name="connsiteX27" fmla="*/ 414566 w 1564652"/>
                <a:gd name="connsiteY27" fmla="*/ 1371750 h 1549081"/>
                <a:gd name="connsiteX28" fmla="*/ 454685 w 1564652"/>
                <a:gd name="connsiteY28" fmla="*/ 1478735 h 1549081"/>
                <a:gd name="connsiteX29" fmla="*/ 563156 w 1564652"/>
                <a:gd name="connsiteY29" fmla="*/ 1439165 h 1549081"/>
                <a:gd name="connsiteX30" fmla="*/ 701345 w 1564652"/>
                <a:gd name="connsiteY30" fmla="*/ 1143126 h 1549081"/>
                <a:gd name="connsiteX31" fmla="*/ 701345 w 1564652"/>
                <a:gd name="connsiteY31" fmla="*/ 1468476 h 1549081"/>
                <a:gd name="connsiteX32" fmla="*/ 783069 w 1564652"/>
                <a:gd name="connsiteY32" fmla="*/ 1549081 h 1549081"/>
                <a:gd name="connsiteX33" fmla="*/ 864794 w 1564652"/>
                <a:gd name="connsiteY33" fmla="*/ 1468476 h 1549081"/>
                <a:gd name="connsiteX34" fmla="*/ 864794 w 1564652"/>
                <a:gd name="connsiteY34" fmla="*/ 1146056 h 1549081"/>
                <a:gd name="connsiteX35" fmla="*/ 1001497 w 1564652"/>
                <a:gd name="connsiteY35" fmla="*/ 1439165 h 1549081"/>
                <a:gd name="connsiteX36" fmla="*/ 1108481 w 1564652"/>
                <a:gd name="connsiteY36" fmla="*/ 1478735 h 1549081"/>
                <a:gd name="connsiteX37" fmla="*/ 1156030 w 1564652"/>
                <a:gd name="connsiteY37" fmla="*/ 1405458 h 1549081"/>
                <a:gd name="connsiteX38" fmla="*/ 1148601 w 1564652"/>
                <a:gd name="connsiteY38" fmla="*/ 1371750 h 1549081"/>
                <a:gd name="connsiteX39" fmla="*/ 1044588 w 1564652"/>
                <a:gd name="connsiteY39" fmla="*/ 1147522 h 1549081"/>
                <a:gd name="connsiteX40" fmla="*/ 1221410 w 1564652"/>
                <a:gd name="connsiteY40" fmla="*/ 1321922 h 1549081"/>
                <a:gd name="connsiteX41" fmla="*/ 1335824 w 1564652"/>
                <a:gd name="connsiteY41" fmla="*/ 1321922 h 1549081"/>
                <a:gd name="connsiteX42" fmla="*/ 1359599 w 1564652"/>
                <a:gd name="connsiteY42" fmla="*/ 1264766 h 1549081"/>
                <a:gd name="connsiteX43" fmla="*/ 1335824 w 1564652"/>
                <a:gd name="connsiteY43" fmla="*/ 1207610 h 1549081"/>
                <a:gd name="connsiteX44" fmla="*/ 1161974 w 1564652"/>
                <a:gd name="connsiteY44" fmla="*/ 1036140 h 1549081"/>
                <a:gd name="connsiteX45" fmla="*/ 1384859 w 1564652"/>
                <a:gd name="connsiteY45" fmla="*/ 1137263 h 1549081"/>
                <a:gd name="connsiteX46" fmla="*/ 1493329 w 1564652"/>
                <a:gd name="connsiteY46" fmla="*/ 1097694 h 1549081"/>
                <a:gd name="connsiteX47" fmla="*/ 1500759 w 1564652"/>
                <a:gd name="connsiteY47" fmla="*/ 1063986 h 1549081"/>
                <a:gd name="connsiteX48" fmla="*/ 1453210 w 1564652"/>
                <a:gd name="connsiteY48" fmla="*/ 990709 h 1549081"/>
                <a:gd name="connsiteX49" fmla="*/ 1153058 w 1564652"/>
                <a:gd name="connsiteY49" fmla="*/ 854413 h 1549081"/>
                <a:gd name="connsiteX50" fmla="*/ 1482928 w 1564652"/>
                <a:gd name="connsiteY50" fmla="*/ 854413 h 1549081"/>
                <a:gd name="connsiteX51" fmla="*/ 1564653 w 1564652"/>
                <a:gd name="connsiteY51" fmla="*/ 773808 h 1549081"/>
                <a:gd name="connsiteX52" fmla="*/ 1482928 w 1564652"/>
                <a:gd name="connsiteY52" fmla="*/ 693203 h 1549081"/>
                <a:gd name="connsiteX53" fmla="*/ 1156030 w 1564652"/>
                <a:gd name="connsiteY53" fmla="*/ 693203 h 1549081"/>
                <a:gd name="connsiteX54" fmla="*/ 1453210 w 1564652"/>
                <a:gd name="connsiteY54" fmla="*/ 558373 h 1549081"/>
                <a:gd name="connsiteX55" fmla="*/ 1500759 w 1564652"/>
                <a:gd name="connsiteY55" fmla="*/ 485096 h 1549081"/>
                <a:gd name="connsiteX56" fmla="*/ 1493329 w 1564652"/>
                <a:gd name="connsiteY56" fmla="*/ 451388 h 1549081"/>
                <a:gd name="connsiteX57" fmla="*/ 1386345 w 1564652"/>
                <a:gd name="connsiteY57" fmla="*/ 411818 h 1549081"/>
                <a:gd name="connsiteX58" fmla="*/ 1159002 w 1564652"/>
                <a:gd name="connsiteY58" fmla="*/ 514407 h 1549081"/>
                <a:gd name="connsiteX59" fmla="*/ 1335824 w 1564652"/>
                <a:gd name="connsiteY59" fmla="*/ 340006 h 1549081"/>
                <a:gd name="connsiteX60" fmla="*/ 1359599 w 1564652"/>
                <a:gd name="connsiteY60" fmla="*/ 282850 h 1549081"/>
                <a:gd name="connsiteX61" fmla="*/ 1335824 w 1564652"/>
                <a:gd name="connsiteY61" fmla="*/ 225694 h 1549081"/>
                <a:gd name="connsiteX62" fmla="*/ 1221410 w 1564652"/>
                <a:gd name="connsiteY62" fmla="*/ 225694 h 1549081"/>
                <a:gd name="connsiteX63" fmla="*/ 1047560 w 1564652"/>
                <a:gd name="connsiteY63" fmla="*/ 397163 h 1549081"/>
                <a:gd name="connsiteX64" fmla="*/ 1150087 w 1564652"/>
                <a:gd name="connsiteY64" fmla="*/ 177331 h 1549081"/>
                <a:gd name="connsiteX65" fmla="*/ 1157516 w 1564652"/>
                <a:gd name="connsiteY65" fmla="*/ 143623 h 1549081"/>
                <a:gd name="connsiteX66" fmla="*/ 1109967 w 1564652"/>
                <a:gd name="connsiteY66" fmla="*/ 70346 h 1549081"/>
                <a:gd name="connsiteX67" fmla="*/ 1001497 w 1564652"/>
                <a:gd name="connsiteY67" fmla="*/ 109916 h 1549081"/>
                <a:gd name="connsiteX68" fmla="*/ 863308 w 1564652"/>
                <a:gd name="connsiteY68" fmla="*/ 405956 h 1549081"/>
                <a:gd name="connsiteX69" fmla="*/ 863308 w 1564652"/>
                <a:gd name="connsiteY69" fmla="*/ 80605 h 1549081"/>
                <a:gd name="connsiteX70" fmla="*/ 781583 w 1564652"/>
                <a:gd name="connsiteY70" fmla="*/ 0 h 1549081"/>
                <a:gd name="connsiteX71" fmla="*/ 971779 w 1564652"/>
                <a:gd name="connsiteY71" fmla="*/ 776739 h 1549081"/>
                <a:gd name="connsiteX72" fmla="*/ 772668 w 1564652"/>
                <a:gd name="connsiteY72" fmla="*/ 973123 h 1549081"/>
                <a:gd name="connsiteX73" fmla="*/ 573557 w 1564652"/>
                <a:gd name="connsiteY73" fmla="*/ 776739 h 1549081"/>
                <a:gd name="connsiteX74" fmla="*/ 772668 w 1564652"/>
                <a:gd name="connsiteY74" fmla="*/ 580356 h 1549081"/>
                <a:gd name="connsiteX75" fmla="*/ 971779 w 1564652"/>
                <a:gd name="connsiteY75" fmla="*/ 776739 h 1549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564652" h="1549081">
                  <a:moveTo>
                    <a:pt x="781583" y="5862"/>
                  </a:moveTo>
                  <a:cubicBezTo>
                    <a:pt x="737006" y="5862"/>
                    <a:pt x="699859" y="41036"/>
                    <a:pt x="699859" y="86467"/>
                  </a:cubicBezTo>
                  <a:lnTo>
                    <a:pt x="699859" y="408887"/>
                  </a:lnTo>
                  <a:lnTo>
                    <a:pt x="563156" y="115778"/>
                  </a:lnTo>
                  <a:cubicBezTo>
                    <a:pt x="543839" y="76208"/>
                    <a:pt x="496291" y="57157"/>
                    <a:pt x="456171" y="76208"/>
                  </a:cubicBezTo>
                  <a:cubicBezTo>
                    <a:pt x="416052" y="95261"/>
                    <a:pt x="396735" y="142158"/>
                    <a:pt x="416052" y="181728"/>
                  </a:cubicBezTo>
                  <a:lnTo>
                    <a:pt x="520065" y="405956"/>
                  </a:lnTo>
                  <a:lnTo>
                    <a:pt x="343243" y="231556"/>
                  </a:lnTo>
                  <a:cubicBezTo>
                    <a:pt x="312039" y="200780"/>
                    <a:pt x="260033" y="200780"/>
                    <a:pt x="228829" y="231556"/>
                  </a:cubicBezTo>
                  <a:cubicBezTo>
                    <a:pt x="197625" y="262333"/>
                    <a:pt x="197625" y="313627"/>
                    <a:pt x="228829" y="344403"/>
                  </a:cubicBezTo>
                  <a:lnTo>
                    <a:pt x="402679" y="515872"/>
                  </a:lnTo>
                  <a:lnTo>
                    <a:pt x="179794" y="414750"/>
                  </a:lnTo>
                  <a:cubicBezTo>
                    <a:pt x="139675" y="395697"/>
                    <a:pt x="90640" y="414750"/>
                    <a:pt x="71323" y="454319"/>
                  </a:cubicBezTo>
                  <a:cubicBezTo>
                    <a:pt x="52006" y="493889"/>
                    <a:pt x="71323" y="542252"/>
                    <a:pt x="111443" y="561304"/>
                  </a:cubicBezTo>
                  <a:lnTo>
                    <a:pt x="411594" y="697600"/>
                  </a:lnTo>
                  <a:lnTo>
                    <a:pt x="81724" y="697600"/>
                  </a:lnTo>
                  <a:cubicBezTo>
                    <a:pt x="37148" y="697600"/>
                    <a:pt x="0" y="732773"/>
                    <a:pt x="0" y="778205"/>
                  </a:cubicBezTo>
                  <a:cubicBezTo>
                    <a:pt x="0" y="823637"/>
                    <a:pt x="35662" y="858810"/>
                    <a:pt x="81724" y="858810"/>
                  </a:cubicBezTo>
                  <a:lnTo>
                    <a:pt x="408623" y="858810"/>
                  </a:lnTo>
                  <a:lnTo>
                    <a:pt x="111443" y="993640"/>
                  </a:lnTo>
                  <a:cubicBezTo>
                    <a:pt x="71323" y="1012692"/>
                    <a:pt x="52006" y="1059589"/>
                    <a:pt x="71323" y="1099159"/>
                  </a:cubicBezTo>
                  <a:cubicBezTo>
                    <a:pt x="90640" y="1138729"/>
                    <a:pt x="138189" y="1157781"/>
                    <a:pt x="178308" y="1138729"/>
                  </a:cubicBezTo>
                  <a:lnTo>
                    <a:pt x="405651" y="1036140"/>
                  </a:lnTo>
                  <a:lnTo>
                    <a:pt x="228829" y="1210541"/>
                  </a:lnTo>
                  <a:cubicBezTo>
                    <a:pt x="197625" y="1241317"/>
                    <a:pt x="197625" y="1292611"/>
                    <a:pt x="228829" y="1323388"/>
                  </a:cubicBezTo>
                  <a:cubicBezTo>
                    <a:pt x="260033" y="1354164"/>
                    <a:pt x="312039" y="1354164"/>
                    <a:pt x="343243" y="1323388"/>
                  </a:cubicBezTo>
                  <a:lnTo>
                    <a:pt x="517093" y="1151919"/>
                  </a:lnTo>
                  <a:lnTo>
                    <a:pt x="414566" y="1371750"/>
                  </a:lnTo>
                  <a:cubicBezTo>
                    <a:pt x="395249" y="1411320"/>
                    <a:pt x="414566" y="1459684"/>
                    <a:pt x="454685" y="1478735"/>
                  </a:cubicBezTo>
                  <a:cubicBezTo>
                    <a:pt x="494805" y="1497787"/>
                    <a:pt x="543839" y="1478735"/>
                    <a:pt x="563156" y="1439165"/>
                  </a:cubicBezTo>
                  <a:lnTo>
                    <a:pt x="701345" y="1143126"/>
                  </a:lnTo>
                  <a:lnTo>
                    <a:pt x="701345" y="1468476"/>
                  </a:lnTo>
                  <a:cubicBezTo>
                    <a:pt x="701345" y="1512443"/>
                    <a:pt x="737006" y="1549081"/>
                    <a:pt x="783069" y="1549081"/>
                  </a:cubicBezTo>
                  <a:cubicBezTo>
                    <a:pt x="829132" y="1549081"/>
                    <a:pt x="864794" y="1513909"/>
                    <a:pt x="864794" y="1468476"/>
                  </a:cubicBezTo>
                  <a:lnTo>
                    <a:pt x="864794" y="1146056"/>
                  </a:lnTo>
                  <a:lnTo>
                    <a:pt x="1001497" y="1439165"/>
                  </a:lnTo>
                  <a:cubicBezTo>
                    <a:pt x="1020813" y="1478735"/>
                    <a:pt x="1068362" y="1497787"/>
                    <a:pt x="1108481" y="1478735"/>
                  </a:cubicBezTo>
                  <a:cubicBezTo>
                    <a:pt x="1138199" y="1465545"/>
                    <a:pt x="1156030" y="1436235"/>
                    <a:pt x="1156030" y="1405458"/>
                  </a:cubicBezTo>
                  <a:cubicBezTo>
                    <a:pt x="1156030" y="1393734"/>
                    <a:pt x="1153058" y="1383475"/>
                    <a:pt x="1148601" y="1371750"/>
                  </a:cubicBezTo>
                  <a:lnTo>
                    <a:pt x="1044588" y="1147522"/>
                  </a:lnTo>
                  <a:lnTo>
                    <a:pt x="1221410" y="1321922"/>
                  </a:lnTo>
                  <a:cubicBezTo>
                    <a:pt x="1252614" y="1352698"/>
                    <a:pt x="1304620" y="1352698"/>
                    <a:pt x="1335824" y="1321922"/>
                  </a:cubicBezTo>
                  <a:cubicBezTo>
                    <a:pt x="1352169" y="1305801"/>
                    <a:pt x="1359599" y="1285283"/>
                    <a:pt x="1359599" y="1264766"/>
                  </a:cubicBezTo>
                  <a:cubicBezTo>
                    <a:pt x="1359599" y="1244248"/>
                    <a:pt x="1352169" y="1223731"/>
                    <a:pt x="1335824" y="1207610"/>
                  </a:cubicBezTo>
                  <a:lnTo>
                    <a:pt x="1161974" y="1036140"/>
                  </a:lnTo>
                  <a:lnTo>
                    <a:pt x="1384859" y="1137263"/>
                  </a:lnTo>
                  <a:cubicBezTo>
                    <a:pt x="1424978" y="1156316"/>
                    <a:pt x="1474013" y="1137263"/>
                    <a:pt x="1493329" y="1097694"/>
                  </a:cubicBezTo>
                  <a:cubicBezTo>
                    <a:pt x="1497787" y="1087435"/>
                    <a:pt x="1500759" y="1075710"/>
                    <a:pt x="1500759" y="1063986"/>
                  </a:cubicBezTo>
                  <a:cubicBezTo>
                    <a:pt x="1500759" y="1033210"/>
                    <a:pt x="1482928" y="1005364"/>
                    <a:pt x="1453210" y="990709"/>
                  </a:cubicBezTo>
                  <a:lnTo>
                    <a:pt x="1153058" y="854413"/>
                  </a:lnTo>
                  <a:lnTo>
                    <a:pt x="1482928" y="854413"/>
                  </a:lnTo>
                  <a:cubicBezTo>
                    <a:pt x="1527505" y="854413"/>
                    <a:pt x="1564653" y="819240"/>
                    <a:pt x="1564653" y="773808"/>
                  </a:cubicBezTo>
                  <a:cubicBezTo>
                    <a:pt x="1564653" y="728376"/>
                    <a:pt x="1528991" y="693203"/>
                    <a:pt x="1482928" y="693203"/>
                  </a:cubicBezTo>
                  <a:lnTo>
                    <a:pt x="1156030" y="693203"/>
                  </a:lnTo>
                  <a:lnTo>
                    <a:pt x="1453210" y="558373"/>
                  </a:lnTo>
                  <a:cubicBezTo>
                    <a:pt x="1482928" y="545183"/>
                    <a:pt x="1500759" y="515872"/>
                    <a:pt x="1500759" y="485096"/>
                  </a:cubicBezTo>
                  <a:cubicBezTo>
                    <a:pt x="1500759" y="473371"/>
                    <a:pt x="1497787" y="463112"/>
                    <a:pt x="1493329" y="451388"/>
                  </a:cubicBezTo>
                  <a:cubicBezTo>
                    <a:pt x="1474013" y="411818"/>
                    <a:pt x="1426464" y="392766"/>
                    <a:pt x="1386345" y="411818"/>
                  </a:cubicBezTo>
                  <a:lnTo>
                    <a:pt x="1159002" y="514407"/>
                  </a:lnTo>
                  <a:lnTo>
                    <a:pt x="1335824" y="340006"/>
                  </a:lnTo>
                  <a:cubicBezTo>
                    <a:pt x="1352169" y="323886"/>
                    <a:pt x="1359599" y="303368"/>
                    <a:pt x="1359599" y="282850"/>
                  </a:cubicBezTo>
                  <a:cubicBezTo>
                    <a:pt x="1359599" y="262333"/>
                    <a:pt x="1352169" y="241815"/>
                    <a:pt x="1335824" y="225694"/>
                  </a:cubicBezTo>
                  <a:cubicBezTo>
                    <a:pt x="1304620" y="194918"/>
                    <a:pt x="1252614" y="194918"/>
                    <a:pt x="1221410" y="225694"/>
                  </a:cubicBezTo>
                  <a:lnTo>
                    <a:pt x="1047560" y="397163"/>
                  </a:lnTo>
                  <a:lnTo>
                    <a:pt x="1150087" y="177331"/>
                  </a:lnTo>
                  <a:cubicBezTo>
                    <a:pt x="1154544" y="167073"/>
                    <a:pt x="1157516" y="155348"/>
                    <a:pt x="1157516" y="143623"/>
                  </a:cubicBezTo>
                  <a:cubicBezTo>
                    <a:pt x="1157516" y="112847"/>
                    <a:pt x="1139685" y="85002"/>
                    <a:pt x="1109967" y="70346"/>
                  </a:cubicBezTo>
                  <a:cubicBezTo>
                    <a:pt x="1069848" y="51294"/>
                    <a:pt x="1020813" y="70346"/>
                    <a:pt x="1001497" y="109916"/>
                  </a:cubicBezTo>
                  <a:lnTo>
                    <a:pt x="863308" y="405956"/>
                  </a:lnTo>
                  <a:lnTo>
                    <a:pt x="863308" y="80605"/>
                  </a:lnTo>
                  <a:cubicBezTo>
                    <a:pt x="863308" y="36639"/>
                    <a:pt x="827646" y="0"/>
                    <a:pt x="781583" y="0"/>
                  </a:cubicBezTo>
                  <a:close/>
                  <a:moveTo>
                    <a:pt x="971779" y="776739"/>
                  </a:moveTo>
                  <a:cubicBezTo>
                    <a:pt x="971779" y="885189"/>
                    <a:pt x="882625" y="973123"/>
                    <a:pt x="772668" y="973123"/>
                  </a:cubicBezTo>
                  <a:cubicBezTo>
                    <a:pt x="662711" y="973123"/>
                    <a:pt x="573557" y="885189"/>
                    <a:pt x="573557" y="776739"/>
                  </a:cubicBezTo>
                  <a:cubicBezTo>
                    <a:pt x="573557" y="668289"/>
                    <a:pt x="662711" y="580356"/>
                    <a:pt x="772668" y="580356"/>
                  </a:cubicBezTo>
                  <a:cubicBezTo>
                    <a:pt x="882625" y="580356"/>
                    <a:pt x="971779" y="668289"/>
                    <a:pt x="971779" y="776739"/>
                  </a:cubicBezTo>
                  <a:close/>
                </a:path>
              </a:pathLst>
            </a:custGeom>
            <a:solidFill>
              <a:srgbClr val="FFFFFF"/>
            </a:solidFill>
            <a:ln w="148590" cap="flat">
              <a:noFill/>
              <a:prstDash val="solid"/>
              <a:miter/>
            </a:ln>
          </p:spPr>
          <p:txBody>
            <a:bodyPr rtlCol="0" anchor="ctr"/>
            <a:lstStyle/>
            <a:p>
              <a:pPr algn="l" rtl="0"/>
              <a:endParaRPr lang="en-AE"/>
            </a:p>
          </p:txBody>
        </p:sp>
      </p:grpSp>
      <p:grpSp>
        <p:nvGrpSpPr>
          <p:cNvPr id="15" name="Graphic 5">
            <a:extLst>
              <a:ext uri="{FF2B5EF4-FFF2-40B4-BE49-F238E27FC236}">
                <a16:creationId xmlns:a16="http://schemas.microsoft.com/office/drawing/2014/main" id="{9AE44D4D-E3A6-FF9C-23DE-FF81BB076DAC}"/>
              </a:ext>
            </a:extLst>
          </p:cNvPr>
          <p:cNvGrpSpPr/>
          <p:nvPr/>
        </p:nvGrpSpPr>
        <p:grpSpPr>
          <a:xfrm flipH="1">
            <a:off x="19258803" y="507557"/>
            <a:ext cx="863594" cy="914400"/>
            <a:chOff x="15386051" y="8931275"/>
            <a:chExt cx="2200617" cy="2330080"/>
          </a:xfrm>
        </p:grpSpPr>
        <p:sp>
          <p:nvSpPr>
            <p:cNvPr id="16" name="Freeform 15">
              <a:extLst>
                <a:ext uri="{FF2B5EF4-FFF2-40B4-BE49-F238E27FC236}">
                  <a16:creationId xmlns:a16="http://schemas.microsoft.com/office/drawing/2014/main" id="{9825D38B-02EC-73DD-DC8D-DA5442677972}"/>
                </a:ext>
              </a:extLst>
            </p:cNvPr>
            <p:cNvSpPr/>
            <p:nvPr/>
          </p:nvSpPr>
          <p:spPr>
            <a:xfrm>
              <a:off x="15386051" y="8931275"/>
              <a:ext cx="2200617" cy="2330080"/>
            </a:xfrm>
            <a:custGeom>
              <a:avLst/>
              <a:gdLst>
                <a:gd name="connsiteX0" fmla="*/ 0 w 2200617"/>
                <a:gd name="connsiteY0" fmla="*/ 0 h 2533927"/>
                <a:gd name="connsiteX1" fmla="*/ 2200618 w 2200617"/>
                <a:gd name="connsiteY1" fmla="*/ 0 h 2533927"/>
                <a:gd name="connsiteX2" fmla="*/ 2200618 w 2200617"/>
                <a:gd name="connsiteY2" fmla="*/ 2533928 h 2533927"/>
                <a:gd name="connsiteX3" fmla="*/ 0 w 2200617"/>
                <a:gd name="connsiteY3" fmla="*/ 2533928 h 2533927"/>
              </a:gdLst>
              <a:ahLst/>
              <a:cxnLst>
                <a:cxn ang="0">
                  <a:pos x="connsiteX0" y="connsiteY0"/>
                </a:cxn>
                <a:cxn ang="0">
                  <a:pos x="connsiteX1" y="connsiteY1"/>
                </a:cxn>
                <a:cxn ang="0">
                  <a:pos x="connsiteX2" y="connsiteY2"/>
                </a:cxn>
                <a:cxn ang="0">
                  <a:pos x="connsiteX3" y="connsiteY3"/>
                </a:cxn>
              </a:cxnLst>
              <a:rect l="l" t="t" r="r" b="b"/>
              <a:pathLst>
                <a:path w="2200617" h="2533927">
                  <a:moveTo>
                    <a:pt x="0" y="0"/>
                  </a:moveTo>
                  <a:lnTo>
                    <a:pt x="2200618" y="0"/>
                  </a:lnTo>
                  <a:lnTo>
                    <a:pt x="2200618" y="2533928"/>
                  </a:lnTo>
                  <a:lnTo>
                    <a:pt x="0" y="2533928"/>
                  </a:lnTo>
                  <a:close/>
                </a:path>
              </a:pathLst>
            </a:custGeom>
            <a:solidFill>
              <a:srgbClr val="8CB984"/>
            </a:solidFill>
            <a:ln w="148590" cap="flat">
              <a:noFill/>
              <a:prstDash val="solid"/>
              <a:miter/>
            </a:ln>
          </p:spPr>
          <p:txBody>
            <a:bodyPr rtlCol="0" anchor="ctr"/>
            <a:lstStyle/>
            <a:p>
              <a:pPr algn="l" rtl="0"/>
              <a:endParaRPr lang="en-AE"/>
            </a:p>
          </p:txBody>
        </p:sp>
        <p:grpSp>
          <p:nvGrpSpPr>
            <p:cNvPr id="18" name="Graphic 5">
              <a:extLst>
                <a:ext uri="{FF2B5EF4-FFF2-40B4-BE49-F238E27FC236}">
                  <a16:creationId xmlns:a16="http://schemas.microsoft.com/office/drawing/2014/main" id="{A492B011-051A-0393-DB4A-9F1D3F8EB616}"/>
                </a:ext>
              </a:extLst>
            </p:cNvPr>
            <p:cNvGrpSpPr/>
            <p:nvPr/>
          </p:nvGrpSpPr>
          <p:grpSpPr>
            <a:xfrm>
              <a:off x="15808858" y="9482831"/>
              <a:ext cx="1355784" cy="1258549"/>
              <a:chOff x="15808858" y="9482831"/>
              <a:chExt cx="1355784" cy="1258549"/>
            </a:xfrm>
            <a:solidFill>
              <a:srgbClr val="FFFFFF"/>
            </a:solidFill>
          </p:grpSpPr>
          <p:sp>
            <p:nvSpPr>
              <p:cNvPr id="19" name="Freeform 18">
                <a:extLst>
                  <a:ext uri="{FF2B5EF4-FFF2-40B4-BE49-F238E27FC236}">
                    <a16:creationId xmlns:a16="http://schemas.microsoft.com/office/drawing/2014/main" id="{DD6F5198-6449-5B43-CA7C-FDFF9339BFE6}"/>
                  </a:ext>
                </a:extLst>
              </p:cNvPr>
              <p:cNvSpPr/>
              <p:nvPr/>
            </p:nvSpPr>
            <p:spPr>
              <a:xfrm rot="4791600">
                <a:off x="15855583" y="9530519"/>
                <a:ext cx="582473" cy="574494"/>
              </a:xfrm>
              <a:custGeom>
                <a:avLst/>
                <a:gdLst>
                  <a:gd name="connsiteX0" fmla="*/ 582473 w 582473"/>
                  <a:gd name="connsiteY0" fmla="*/ 0 h 574494"/>
                  <a:gd name="connsiteX1" fmla="*/ 582473 w 582473"/>
                  <a:gd name="connsiteY1" fmla="*/ 0 h 574494"/>
                  <a:gd name="connsiteX2" fmla="*/ 0 w 582473"/>
                  <a:gd name="connsiteY2" fmla="*/ 574494 h 574494"/>
                  <a:gd name="connsiteX3" fmla="*/ 0 w 582473"/>
                  <a:gd name="connsiteY3" fmla="*/ 574494 h 574494"/>
                  <a:gd name="connsiteX4" fmla="*/ 582473 w 582473"/>
                  <a:gd name="connsiteY4" fmla="*/ 0 h 574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473" h="574494">
                    <a:moveTo>
                      <a:pt x="582473" y="0"/>
                    </a:moveTo>
                    <a:lnTo>
                      <a:pt x="582473" y="0"/>
                    </a:lnTo>
                    <a:cubicBezTo>
                      <a:pt x="582473" y="316558"/>
                      <a:pt x="320955" y="574494"/>
                      <a:pt x="0" y="574494"/>
                    </a:cubicBezTo>
                    <a:lnTo>
                      <a:pt x="0" y="574494"/>
                    </a:lnTo>
                    <a:cubicBezTo>
                      <a:pt x="0" y="257936"/>
                      <a:pt x="261519" y="0"/>
                      <a:pt x="582473" y="0"/>
                    </a:cubicBezTo>
                    <a:close/>
                  </a:path>
                </a:pathLst>
              </a:custGeom>
              <a:solidFill>
                <a:srgbClr val="FFFFFF"/>
              </a:solidFill>
              <a:ln w="148590" cap="flat">
                <a:noFill/>
                <a:prstDash val="solid"/>
                <a:miter/>
              </a:ln>
            </p:spPr>
            <p:txBody>
              <a:bodyPr rtlCol="0" anchor="ctr"/>
              <a:lstStyle/>
              <a:p>
                <a:endParaRPr lang="en-AE"/>
              </a:p>
            </p:txBody>
          </p:sp>
          <p:sp>
            <p:nvSpPr>
              <p:cNvPr id="20" name="Freeform 19">
                <a:extLst>
                  <a:ext uri="{FF2B5EF4-FFF2-40B4-BE49-F238E27FC236}">
                    <a16:creationId xmlns:a16="http://schemas.microsoft.com/office/drawing/2014/main" id="{9589627D-69AD-51D3-EEB1-CE21FA7AE8FE}"/>
                  </a:ext>
                </a:extLst>
              </p:cNvPr>
              <p:cNvSpPr/>
              <p:nvPr/>
            </p:nvSpPr>
            <p:spPr>
              <a:xfrm rot="6008400">
                <a:off x="16533546" y="9528915"/>
                <a:ext cx="582473" cy="574494"/>
              </a:xfrm>
              <a:custGeom>
                <a:avLst/>
                <a:gdLst>
                  <a:gd name="connsiteX0" fmla="*/ 0 w 582473"/>
                  <a:gd name="connsiteY0" fmla="*/ 0 h 574494"/>
                  <a:gd name="connsiteX1" fmla="*/ 0 w 582473"/>
                  <a:gd name="connsiteY1" fmla="*/ 0 h 574494"/>
                  <a:gd name="connsiteX2" fmla="*/ 582473 w 582473"/>
                  <a:gd name="connsiteY2" fmla="*/ 574494 h 574494"/>
                  <a:gd name="connsiteX3" fmla="*/ 582473 w 582473"/>
                  <a:gd name="connsiteY3" fmla="*/ 574494 h 574494"/>
                  <a:gd name="connsiteX4" fmla="*/ 0 w 582473"/>
                  <a:gd name="connsiteY4" fmla="*/ 0 h 574494"/>
                  <a:gd name="connsiteX5" fmla="*/ 0 w 582473"/>
                  <a:gd name="connsiteY5" fmla="*/ 0 h 57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2473" h="574494">
                    <a:moveTo>
                      <a:pt x="0" y="0"/>
                    </a:moveTo>
                    <a:lnTo>
                      <a:pt x="0" y="0"/>
                    </a:lnTo>
                    <a:cubicBezTo>
                      <a:pt x="320955" y="0"/>
                      <a:pt x="582473" y="257936"/>
                      <a:pt x="582473" y="574494"/>
                    </a:cubicBezTo>
                    <a:lnTo>
                      <a:pt x="582473" y="574494"/>
                    </a:lnTo>
                    <a:cubicBezTo>
                      <a:pt x="261518" y="574494"/>
                      <a:pt x="0" y="316558"/>
                      <a:pt x="0" y="0"/>
                    </a:cubicBezTo>
                    <a:lnTo>
                      <a:pt x="0" y="0"/>
                    </a:lnTo>
                    <a:close/>
                  </a:path>
                </a:pathLst>
              </a:custGeom>
              <a:solidFill>
                <a:srgbClr val="FFFFFF"/>
              </a:solidFill>
              <a:ln w="148590" cap="flat">
                <a:noFill/>
                <a:prstDash val="solid"/>
                <a:miter/>
              </a:ln>
            </p:spPr>
            <p:txBody>
              <a:bodyPr rtlCol="0" anchor="ctr"/>
              <a:lstStyle/>
              <a:p>
                <a:endParaRPr lang="en-AE"/>
              </a:p>
            </p:txBody>
          </p:sp>
          <p:sp>
            <p:nvSpPr>
              <p:cNvPr id="21" name="Freeform 20">
                <a:extLst>
                  <a:ext uri="{FF2B5EF4-FFF2-40B4-BE49-F238E27FC236}">
                    <a16:creationId xmlns:a16="http://schemas.microsoft.com/office/drawing/2014/main" id="{E3277B14-6295-9359-66E2-38F37065DD34}"/>
                  </a:ext>
                </a:extLst>
              </p:cNvPr>
              <p:cNvSpPr/>
              <p:nvPr/>
            </p:nvSpPr>
            <p:spPr>
              <a:xfrm rot="4791600">
                <a:off x="15855997" y="10120802"/>
                <a:ext cx="582473" cy="574493"/>
              </a:xfrm>
              <a:custGeom>
                <a:avLst/>
                <a:gdLst>
                  <a:gd name="connsiteX0" fmla="*/ 582473 w 582473"/>
                  <a:gd name="connsiteY0" fmla="*/ 0 h 574493"/>
                  <a:gd name="connsiteX1" fmla="*/ 582473 w 582473"/>
                  <a:gd name="connsiteY1" fmla="*/ 0 h 574493"/>
                  <a:gd name="connsiteX2" fmla="*/ 0 w 582473"/>
                  <a:gd name="connsiteY2" fmla="*/ 574494 h 574493"/>
                  <a:gd name="connsiteX3" fmla="*/ 0 w 582473"/>
                  <a:gd name="connsiteY3" fmla="*/ 574494 h 574493"/>
                  <a:gd name="connsiteX4" fmla="*/ 582473 w 582473"/>
                  <a:gd name="connsiteY4" fmla="*/ 0 h 574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473" h="574493">
                    <a:moveTo>
                      <a:pt x="582473" y="0"/>
                    </a:moveTo>
                    <a:lnTo>
                      <a:pt x="582473" y="0"/>
                    </a:lnTo>
                    <a:cubicBezTo>
                      <a:pt x="582473" y="316558"/>
                      <a:pt x="320955" y="574494"/>
                      <a:pt x="0" y="574494"/>
                    </a:cubicBezTo>
                    <a:lnTo>
                      <a:pt x="0" y="574494"/>
                    </a:lnTo>
                    <a:cubicBezTo>
                      <a:pt x="0" y="257936"/>
                      <a:pt x="261519" y="0"/>
                      <a:pt x="582473" y="0"/>
                    </a:cubicBezTo>
                    <a:close/>
                  </a:path>
                </a:pathLst>
              </a:custGeom>
              <a:solidFill>
                <a:srgbClr val="FFFFFF"/>
              </a:solidFill>
              <a:ln w="148590" cap="flat">
                <a:noFill/>
                <a:prstDash val="solid"/>
                <a:miter/>
              </a:ln>
            </p:spPr>
            <p:txBody>
              <a:bodyPr rtlCol="0" anchor="ctr"/>
              <a:lstStyle/>
              <a:p>
                <a:endParaRPr lang="en-AE"/>
              </a:p>
            </p:txBody>
          </p:sp>
          <p:sp>
            <p:nvSpPr>
              <p:cNvPr id="22" name="Freeform 21">
                <a:extLst>
                  <a:ext uri="{FF2B5EF4-FFF2-40B4-BE49-F238E27FC236}">
                    <a16:creationId xmlns:a16="http://schemas.microsoft.com/office/drawing/2014/main" id="{67C22A3C-D0EF-985F-CF13-5ABECDB4B0C2}"/>
                  </a:ext>
                </a:extLst>
              </p:cNvPr>
              <p:cNvSpPr/>
              <p:nvPr/>
            </p:nvSpPr>
            <p:spPr>
              <a:xfrm rot="6008400">
                <a:off x="16535446" y="10119861"/>
                <a:ext cx="582473" cy="574493"/>
              </a:xfrm>
              <a:custGeom>
                <a:avLst/>
                <a:gdLst>
                  <a:gd name="connsiteX0" fmla="*/ 0 w 582473"/>
                  <a:gd name="connsiteY0" fmla="*/ 0 h 574493"/>
                  <a:gd name="connsiteX1" fmla="*/ 0 w 582473"/>
                  <a:gd name="connsiteY1" fmla="*/ 0 h 574493"/>
                  <a:gd name="connsiteX2" fmla="*/ 582473 w 582473"/>
                  <a:gd name="connsiteY2" fmla="*/ 574494 h 574493"/>
                  <a:gd name="connsiteX3" fmla="*/ 582473 w 582473"/>
                  <a:gd name="connsiteY3" fmla="*/ 574494 h 574493"/>
                  <a:gd name="connsiteX4" fmla="*/ 0 w 582473"/>
                  <a:gd name="connsiteY4" fmla="*/ 0 h 574493"/>
                  <a:gd name="connsiteX5" fmla="*/ 0 w 582473"/>
                  <a:gd name="connsiteY5" fmla="*/ 0 h 574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2473" h="574493">
                    <a:moveTo>
                      <a:pt x="0" y="0"/>
                    </a:moveTo>
                    <a:lnTo>
                      <a:pt x="0" y="0"/>
                    </a:lnTo>
                    <a:cubicBezTo>
                      <a:pt x="320955" y="0"/>
                      <a:pt x="582473" y="257936"/>
                      <a:pt x="582473" y="574494"/>
                    </a:cubicBezTo>
                    <a:lnTo>
                      <a:pt x="582473" y="574494"/>
                    </a:lnTo>
                    <a:cubicBezTo>
                      <a:pt x="261519" y="574494"/>
                      <a:pt x="0" y="316558"/>
                      <a:pt x="0" y="0"/>
                    </a:cubicBezTo>
                    <a:lnTo>
                      <a:pt x="0" y="0"/>
                    </a:lnTo>
                    <a:close/>
                  </a:path>
                </a:pathLst>
              </a:custGeom>
              <a:solidFill>
                <a:srgbClr val="FFFFFF"/>
              </a:solidFill>
              <a:ln w="148590" cap="flat">
                <a:noFill/>
                <a:prstDash val="solid"/>
                <a:miter/>
              </a:ln>
            </p:spPr>
            <p:txBody>
              <a:bodyPr rtlCol="0" anchor="ctr"/>
              <a:lstStyle/>
              <a:p>
                <a:pPr algn="l" rtl="0"/>
                <a:endParaRPr lang="en-AE"/>
              </a:p>
            </p:txBody>
          </p:sp>
        </p:grpSp>
      </p:grpSp>
      <p:grpSp>
        <p:nvGrpSpPr>
          <p:cNvPr id="27" name="Group 26">
            <a:extLst>
              <a:ext uri="{FF2B5EF4-FFF2-40B4-BE49-F238E27FC236}">
                <a16:creationId xmlns:a16="http://schemas.microsoft.com/office/drawing/2014/main" id="{D44C0719-485C-ACDB-7A1E-FCD6393CAC57}"/>
              </a:ext>
            </a:extLst>
          </p:cNvPr>
          <p:cNvGrpSpPr/>
          <p:nvPr/>
        </p:nvGrpSpPr>
        <p:grpSpPr>
          <a:xfrm>
            <a:off x="-480855" y="5216754"/>
            <a:ext cx="823504" cy="875841"/>
            <a:chOff x="-436215" y="5861509"/>
            <a:chExt cx="823504" cy="875841"/>
          </a:xfrm>
        </p:grpSpPr>
        <p:sp>
          <p:nvSpPr>
            <p:cNvPr id="24" name="Freeform 23">
              <a:extLst>
                <a:ext uri="{FF2B5EF4-FFF2-40B4-BE49-F238E27FC236}">
                  <a16:creationId xmlns:a16="http://schemas.microsoft.com/office/drawing/2014/main" id="{31E571AB-EB4B-C3AD-6A0E-F389A110FC15}"/>
                </a:ext>
              </a:extLst>
            </p:cNvPr>
            <p:cNvSpPr/>
            <p:nvPr/>
          </p:nvSpPr>
          <p:spPr>
            <a:xfrm flipH="1">
              <a:off x="-436215" y="5861509"/>
              <a:ext cx="823504" cy="875841"/>
            </a:xfrm>
            <a:custGeom>
              <a:avLst/>
              <a:gdLst>
                <a:gd name="connsiteX0" fmla="*/ 0 w 2200617"/>
                <a:gd name="connsiteY0" fmla="*/ 0 h 2340475"/>
                <a:gd name="connsiteX1" fmla="*/ 2200618 w 2200617"/>
                <a:gd name="connsiteY1" fmla="*/ 0 h 2340475"/>
                <a:gd name="connsiteX2" fmla="*/ 2200618 w 2200617"/>
                <a:gd name="connsiteY2" fmla="*/ 2340476 h 2340475"/>
                <a:gd name="connsiteX3" fmla="*/ 0 w 2200617"/>
                <a:gd name="connsiteY3" fmla="*/ 2340476 h 2340475"/>
              </a:gdLst>
              <a:ahLst/>
              <a:cxnLst>
                <a:cxn ang="0">
                  <a:pos x="connsiteX0" y="connsiteY0"/>
                </a:cxn>
                <a:cxn ang="0">
                  <a:pos x="connsiteX1" y="connsiteY1"/>
                </a:cxn>
                <a:cxn ang="0">
                  <a:pos x="connsiteX2" y="connsiteY2"/>
                </a:cxn>
                <a:cxn ang="0">
                  <a:pos x="connsiteX3" y="connsiteY3"/>
                </a:cxn>
              </a:cxnLst>
              <a:rect l="l" t="t" r="r" b="b"/>
              <a:pathLst>
                <a:path w="2200617" h="2340475">
                  <a:moveTo>
                    <a:pt x="0" y="0"/>
                  </a:moveTo>
                  <a:lnTo>
                    <a:pt x="2200618" y="0"/>
                  </a:lnTo>
                  <a:lnTo>
                    <a:pt x="2200618" y="2340476"/>
                  </a:lnTo>
                  <a:lnTo>
                    <a:pt x="0" y="2340476"/>
                  </a:lnTo>
                  <a:close/>
                </a:path>
              </a:pathLst>
            </a:custGeom>
            <a:solidFill>
              <a:schemeClr val="accent4"/>
            </a:solidFill>
            <a:ln w="148590" cap="flat">
              <a:noFill/>
              <a:prstDash val="solid"/>
              <a:miter/>
            </a:ln>
          </p:spPr>
          <p:txBody>
            <a:bodyPr rtlCol="0" anchor="ctr"/>
            <a:lstStyle/>
            <a:p>
              <a:pPr algn="l" rtl="0"/>
              <a:endParaRPr lang="en-AE"/>
            </a:p>
          </p:txBody>
        </p:sp>
        <p:pic>
          <p:nvPicPr>
            <p:cNvPr id="26" name="Graphic 25">
              <a:extLst>
                <a:ext uri="{FF2B5EF4-FFF2-40B4-BE49-F238E27FC236}">
                  <a16:creationId xmlns:a16="http://schemas.microsoft.com/office/drawing/2014/main" id="{155DFBC0-A71B-A04A-392F-26D42A67ED8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5400000">
              <a:off x="-219902" y="6085756"/>
              <a:ext cx="397252" cy="427347"/>
            </a:xfrm>
            <a:prstGeom prst="rect">
              <a:avLst/>
            </a:prstGeom>
          </p:spPr>
        </p:pic>
      </p:grpSp>
      <p:sp>
        <p:nvSpPr>
          <p:cNvPr id="6" name="object 22">
            <a:extLst>
              <a:ext uri="{FF2B5EF4-FFF2-40B4-BE49-F238E27FC236}">
                <a16:creationId xmlns:a16="http://schemas.microsoft.com/office/drawing/2014/main" id="{4E1C0137-3A9B-AE2B-5F51-B4EA349507DC}"/>
              </a:ext>
            </a:extLst>
          </p:cNvPr>
          <p:cNvSpPr txBox="1"/>
          <p:nvPr/>
        </p:nvSpPr>
        <p:spPr>
          <a:xfrm>
            <a:off x="10769600" y="2216961"/>
            <a:ext cx="8489203" cy="5736827"/>
          </a:xfrm>
          <a:prstGeom prst="rect">
            <a:avLst/>
          </a:prstGeom>
          <a:noFill/>
        </p:spPr>
        <p:txBody>
          <a:bodyPr vert="horz" wrap="square" lIns="0" tIns="12065" rIns="0" bIns="0" numCol="1" rtlCol="0">
            <a:spAutoFit/>
          </a:bodyPr>
          <a:lstStyle/>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a:solidFill>
                  <a:srgbClr val="666666"/>
                </a:solidFill>
              </a:rPr>
              <a:t>Collaborate with CPS in the educational institution to follow-up on cases handled within the public schools. </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a:solidFill>
                  <a:srgbClr val="666666"/>
                </a:solidFill>
              </a:rPr>
              <a:t>Supervise the management of cases that are the responsibility of CPS in the institution.</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a:solidFill>
                  <a:srgbClr val="666666"/>
                </a:solidFill>
              </a:rPr>
              <a:t>Collaborate with relevant entities and facilitate information sharing related to the educational institution for the purpose of conducting comprehensive assessments and/or investigations (in the best interests of the student and in line with the legal framework) of suspected cases of threat to the child or threat to his/her physical, psychological, moral or mental safety, including student maltreatment.</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a:solidFill>
                  <a:srgbClr val="666666"/>
                </a:solidFill>
              </a:rPr>
              <a:t>Collaborate with the FCA to follow-up on the management of cases referred to the authority.</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a:solidFill>
                  <a:srgbClr val="666666"/>
                </a:solidFill>
              </a:rPr>
              <a:t>Document all reports and/or communications in confidential records that are accessible only to child protection professionals or the relevant authority, where necessary and based on approved information sharing protocols.</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a:solidFill>
                  <a:srgbClr val="666666"/>
                </a:solidFill>
              </a:rPr>
              <a:t>Participate in Family and Child Protection Committee meetings to provide support in complex cases.</a:t>
            </a:r>
          </a:p>
          <a:p>
            <a:pPr marL="354965" marR="60960" lvl="0" indent="-342900" defTabSz="914400" rtl="0" eaLnBrk="1" fontAlgn="auto" latinLnBrk="0" hangingPunct="1">
              <a:lnSpc>
                <a:spcPct val="100000"/>
              </a:lnSpc>
              <a:spcBef>
                <a:spcPts val="600"/>
              </a:spcBef>
              <a:spcAft>
                <a:spcPts val="0"/>
              </a:spcAft>
              <a:buClrTx/>
              <a:buSzTx/>
              <a:buFont typeface="Arial"/>
              <a:buChar char="•"/>
              <a:tabLst>
                <a:tab pos="221615" algn="l"/>
                <a:tab pos="222250" algn="l"/>
              </a:tabLst>
              <a:defRPr/>
            </a:pPr>
            <a:r>
              <a:rPr lang="en-US">
                <a:solidFill>
                  <a:srgbClr val="666666"/>
                </a:solidFill>
              </a:rPr>
              <a:t>Ensure adopting safety practices in schools (including school transportation, e.g., buses, field trips, and extracurricular activities).</a:t>
            </a:r>
          </a:p>
        </p:txBody>
      </p:sp>
    </p:spTree>
    <p:extLst>
      <p:ext uri="{BB962C8B-B14F-4D97-AF65-F5344CB8AC3E}">
        <p14:creationId xmlns:p14="http://schemas.microsoft.com/office/powerpoint/2010/main" val="31312079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2">
            <a:lumMod val="20000"/>
            <a:lumOff val="80000"/>
          </a:schemeClr>
        </a:solidFill>
        <a:effectLst/>
      </p:bgPr>
    </p:bg>
    <p:spTree>
      <p:nvGrpSpPr>
        <p:cNvPr id="1" name=""/>
        <p:cNvGrpSpPr/>
        <p:nvPr/>
      </p:nvGrpSpPr>
      <p:grpSpPr>
        <a:xfrm>
          <a:off x="0" y="0"/>
          <a:ext cx="0" cy="0"/>
          <a:chOff x="0" y="0"/>
          <a:chExt cx="0" cy="0"/>
        </a:xfrm>
      </p:grpSpPr>
      <p:sp>
        <p:nvSpPr>
          <p:cNvPr id="5" name="object 22">
            <a:extLst>
              <a:ext uri="{FF2B5EF4-FFF2-40B4-BE49-F238E27FC236}">
                <a16:creationId xmlns:a16="http://schemas.microsoft.com/office/drawing/2014/main" id="{26CAB5F2-59FD-BA76-DAF8-867D06D331E6}"/>
              </a:ext>
            </a:extLst>
          </p:cNvPr>
          <p:cNvSpPr txBox="1"/>
          <p:nvPr/>
        </p:nvSpPr>
        <p:spPr>
          <a:xfrm>
            <a:off x="679448" y="1433789"/>
            <a:ext cx="10165686" cy="8840690"/>
          </a:xfrm>
          <a:prstGeom prst="rect">
            <a:avLst/>
          </a:prstGeom>
          <a:noFill/>
        </p:spPr>
        <p:txBody>
          <a:bodyPr vert="horz" wrap="square" lIns="0" tIns="12065" rIns="0" bIns="0" numCol="1" rtlCol="0">
            <a:spAutoFit/>
          </a:bodyPr>
          <a:lstStyle/>
          <a:p>
            <a:pPr marL="320675" indent="-303213">
              <a:lnSpc>
                <a:spcPct val="100000"/>
              </a:lnSpc>
              <a:spcBef>
                <a:spcPts val="600"/>
              </a:spcBef>
              <a:buChar char="•"/>
              <a:tabLst>
                <a:tab pos="369888" algn="l"/>
              </a:tabLst>
            </a:pPr>
            <a:r>
              <a:rPr lang="en-US" sz="2000">
                <a:solidFill>
                  <a:schemeClr val="tx1">
                    <a:lumMod val="65000"/>
                    <a:lumOff val="35000"/>
                  </a:schemeClr>
                </a:solidFill>
                <a:latin typeface="Arial Unicode MS"/>
                <a:cs typeface="Arial Unicode MS"/>
              </a:rPr>
              <a:t>Comply with the provisions of this policy.</a:t>
            </a:r>
          </a:p>
          <a:p>
            <a:pPr marL="320675" marR="252729" indent="-303213">
              <a:lnSpc>
                <a:spcPct val="102299"/>
              </a:lnSpc>
              <a:spcBef>
                <a:spcPts val="600"/>
              </a:spcBef>
              <a:buChar char="•"/>
              <a:tabLst>
                <a:tab pos="369888" algn="l"/>
              </a:tabLst>
            </a:pPr>
            <a:r>
              <a:rPr lang="en-US" sz="2000">
                <a:solidFill>
                  <a:schemeClr val="tx1">
                    <a:lumMod val="65000"/>
                    <a:lumOff val="35000"/>
                  </a:schemeClr>
                </a:solidFill>
              </a:rPr>
              <a:t>All educational institutions shall undertake to disseminate this policy to protect students from any threats to the child or threats to his/her physical, psychological, moral, or mental safety, including maltreatment.</a:t>
            </a:r>
          </a:p>
          <a:p>
            <a:pPr marL="320675" marR="252729" indent="-303213">
              <a:lnSpc>
                <a:spcPct val="102299"/>
              </a:lnSpc>
              <a:spcBef>
                <a:spcPts val="600"/>
              </a:spcBef>
              <a:buChar char="•"/>
              <a:tabLst>
                <a:tab pos="369888" algn="l"/>
              </a:tabLst>
            </a:pPr>
            <a:r>
              <a:rPr lang="en-US" sz="2000">
                <a:solidFill>
                  <a:schemeClr val="tx1">
                    <a:lumMod val="65000"/>
                    <a:lumOff val="35000"/>
                  </a:schemeClr>
                </a:solidFill>
              </a:rPr>
              <a:t>Ensure the implementation of procedures that prevent anything that would threaten the child or the child's physical, psychological, moral, or mental safety, including maltreatment. While confirming understanding of that by all students,</a:t>
            </a:r>
            <a:r>
              <a:rPr lang="ar-AE" sz="2000">
                <a:solidFill>
                  <a:schemeClr val="tx1">
                    <a:lumMod val="65000"/>
                    <a:lumOff val="35000"/>
                  </a:schemeClr>
                </a:solidFill>
              </a:rPr>
              <a:t> </a:t>
            </a:r>
            <a:r>
              <a:rPr lang="en-US" sz="2000">
                <a:solidFill>
                  <a:schemeClr val="tx1">
                    <a:lumMod val="65000"/>
                    <a:lumOff val="35000"/>
                  </a:schemeClr>
                </a:solidFill>
              </a:rPr>
              <a:t>educational institution staff and school principles.</a:t>
            </a:r>
          </a:p>
          <a:p>
            <a:pPr marL="320675" marR="252729" indent="-303213">
              <a:lnSpc>
                <a:spcPct val="102299"/>
              </a:lnSpc>
              <a:spcBef>
                <a:spcPts val="600"/>
              </a:spcBef>
              <a:buChar char="•"/>
              <a:tabLst>
                <a:tab pos="369888" algn="l"/>
              </a:tabLst>
            </a:pPr>
            <a:r>
              <a:rPr lang="en-US" sz="2000">
                <a:solidFill>
                  <a:schemeClr val="tx1">
                    <a:lumMod val="65000"/>
                    <a:lumOff val="35000"/>
                  </a:schemeClr>
                </a:solidFill>
              </a:rPr>
              <a:t>Always ensure continuous supervision of students while they are under the educational institution’s provision.</a:t>
            </a:r>
          </a:p>
          <a:p>
            <a:pPr marL="320675" marR="252729" indent="-303213">
              <a:lnSpc>
                <a:spcPct val="102299"/>
              </a:lnSpc>
              <a:spcBef>
                <a:spcPts val="600"/>
              </a:spcBef>
              <a:buFontTx/>
              <a:buChar char="•"/>
              <a:tabLst>
                <a:tab pos="369888" algn="l"/>
              </a:tabLst>
            </a:pPr>
            <a:r>
              <a:rPr lang="en-US" sz="2000">
                <a:solidFill>
                  <a:schemeClr val="tx1">
                    <a:lumMod val="65000"/>
                    <a:lumOff val="35000"/>
                  </a:schemeClr>
                </a:solidFill>
              </a:rPr>
              <a:t>Ensure educational institutions are focused on protecting students and take immediate action when there are suspicions of any threats to their safety that could threaten a child or his/her physical, psychological, moral, or mental safety, including maltreatment.</a:t>
            </a:r>
          </a:p>
          <a:p>
            <a:pPr marL="320675" marR="252729" indent="-303213">
              <a:lnSpc>
                <a:spcPct val="102299"/>
              </a:lnSpc>
              <a:spcBef>
                <a:spcPts val="600"/>
              </a:spcBef>
              <a:buFontTx/>
              <a:buChar char="•"/>
              <a:tabLst>
                <a:tab pos="369888" algn="l"/>
              </a:tabLst>
            </a:pPr>
            <a:r>
              <a:rPr lang="en-US" sz="2000">
                <a:solidFill>
                  <a:schemeClr val="tx1">
                    <a:lumMod val="65000"/>
                    <a:lumOff val="35000"/>
                  </a:schemeClr>
                </a:solidFill>
              </a:rPr>
              <a:t>Ensure that students know how, where and to whom  to safely report their concerns regarding incidents that could threaten their physical, psychological, moral, or mental safety, including maltreatment.</a:t>
            </a:r>
          </a:p>
          <a:p>
            <a:pPr marL="320675" marR="252729" indent="-303213">
              <a:lnSpc>
                <a:spcPct val="102299"/>
              </a:lnSpc>
              <a:spcBef>
                <a:spcPts val="600"/>
              </a:spcBef>
              <a:buFontTx/>
              <a:buChar char="•"/>
              <a:tabLst>
                <a:tab pos="369888" algn="l"/>
              </a:tabLst>
            </a:pPr>
            <a:r>
              <a:rPr lang="en-US" sz="2000">
                <a:solidFill>
                  <a:schemeClr val="tx1">
                    <a:lumMod val="65000"/>
                    <a:lumOff val="35000"/>
                  </a:schemeClr>
                </a:solidFill>
                <a:latin typeface="Arial Unicode MS"/>
                <a:cs typeface="Arial Unicode MS"/>
              </a:rPr>
              <a:t>Ensure that staff, volunteers, and students are aware of how to safely report their concerns regarding any potential threats to a child's physical, psychological, moral, or mental safety, including abuse, without fear of punishment or retaliation.</a:t>
            </a:r>
          </a:p>
          <a:p>
            <a:pPr marL="320675" marR="252729" indent="-303213">
              <a:lnSpc>
                <a:spcPct val="102299"/>
              </a:lnSpc>
              <a:spcBef>
                <a:spcPts val="600"/>
              </a:spcBef>
              <a:buChar char="•"/>
              <a:tabLst>
                <a:tab pos="369888" algn="l"/>
              </a:tabLst>
            </a:pPr>
            <a:r>
              <a:rPr lang="en-US" sz="2000">
                <a:solidFill>
                  <a:schemeClr val="tx1">
                    <a:lumMod val="65000"/>
                    <a:lumOff val="35000"/>
                  </a:schemeClr>
                </a:solidFill>
                <a:latin typeface="Arial Unicode MS"/>
                <a:cs typeface="Arial Unicode MS"/>
              </a:rPr>
              <a:t>Consider the opinions and recommendations of students and parents regarding reporting methods to ensure protection and safety.</a:t>
            </a:r>
          </a:p>
          <a:p>
            <a:pPr marL="320675" marR="252729" indent="-303213">
              <a:lnSpc>
                <a:spcPct val="102299"/>
              </a:lnSpc>
              <a:spcBef>
                <a:spcPts val="600"/>
              </a:spcBef>
              <a:buFontTx/>
              <a:buChar char="•"/>
              <a:tabLst>
                <a:tab pos="369888" algn="l"/>
              </a:tabLst>
            </a:pPr>
            <a:r>
              <a:rPr lang="en-US" sz="2000">
                <a:solidFill>
                  <a:schemeClr val="tx1">
                    <a:lumMod val="65000"/>
                    <a:lumOff val="35000"/>
                  </a:schemeClr>
                </a:solidFill>
              </a:rPr>
              <a:t>Immediately report any situation that threatens a child or his/her physical, psychological, moral, or mental safety, including maltreatment.</a:t>
            </a:r>
            <a:r>
              <a:rPr lang="en-US" sz="2000">
                <a:solidFill>
                  <a:schemeClr val="tx1">
                    <a:lumMod val="65000"/>
                    <a:lumOff val="35000"/>
                  </a:schemeClr>
                </a:solidFill>
                <a:highlight>
                  <a:srgbClr val="FFFF00"/>
                </a:highlight>
                <a:latin typeface="Arial Unicode MS"/>
                <a:cs typeface="Arial Unicode MS"/>
              </a:rPr>
              <a:t> </a:t>
            </a:r>
          </a:p>
          <a:p>
            <a:pPr marL="320675" marR="252729" indent="-303213">
              <a:lnSpc>
                <a:spcPct val="102299"/>
              </a:lnSpc>
              <a:spcBef>
                <a:spcPts val="600"/>
              </a:spcBef>
              <a:buFontTx/>
              <a:buChar char="•"/>
              <a:tabLst>
                <a:tab pos="369888" algn="l"/>
              </a:tabLst>
            </a:pPr>
            <a:r>
              <a:rPr lang="en-US" sz="2000">
                <a:solidFill>
                  <a:schemeClr val="tx1">
                    <a:lumMod val="65000"/>
                    <a:lumOff val="35000"/>
                  </a:schemeClr>
                </a:solidFill>
              </a:rPr>
              <a:t>Involve all staff and relevant volunteers in student protection training and ensure they acknowledge receiving the necessary child safety and protection training.</a:t>
            </a:r>
          </a:p>
        </p:txBody>
      </p:sp>
      <p:sp>
        <p:nvSpPr>
          <p:cNvPr id="2" name="object 2">
            <a:extLst>
              <a:ext uri="{FF2B5EF4-FFF2-40B4-BE49-F238E27FC236}">
                <a16:creationId xmlns:a16="http://schemas.microsoft.com/office/drawing/2014/main" id="{3662DC6D-8449-E4E5-B848-64A1C103A655}"/>
              </a:ext>
            </a:extLst>
          </p:cNvPr>
          <p:cNvSpPr txBox="1">
            <a:spLocks/>
          </p:cNvSpPr>
          <p:nvPr/>
        </p:nvSpPr>
        <p:spPr>
          <a:xfrm>
            <a:off x="679449" y="681026"/>
            <a:ext cx="12801600" cy="567463"/>
          </a:xfrm>
          <a:prstGeom prst="rect">
            <a:avLst/>
          </a:prstGeom>
        </p:spPr>
        <p:txBody>
          <a:bodyPr vert="horz" wrap="square" lIns="0" tIns="1333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nSpc>
                <a:spcPct val="100000"/>
              </a:lnSpc>
              <a:spcBef>
                <a:spcPts val="1630"/>
              </a:spcBef>
            </a:pPr>
            <a:r>
              <a:rPr lang="en-US" sz="3600" b="1">
                <a:solidFill>
                  <a:srgbClr val="1F2055"/>
                </a:solidFill>
                <a:latin typeface="Tahoma"/>
                <a:cs typeface="Tahoma"/>
              </a:rPr>
              <a:t>PRINCIPLES</a:t>
            </a:r>
            <a:endParaRPr lang="en-US" sz="3600">
              <a:latin typeface="Tahoma"/>
              <a:cs typeface="Tahoma"/>
            </a:endParaRPr>
          </a:p>
        </p:txBody>
      </p:sp>
      <p:sp>
        <p:nvSpPr>
          <p:cNvPr id="13" name="object 22">
            <a:extLst>
              <a:ext uri="{FF2B5EF4-FFF2-40B4-BE49-F238E27FC236}">
                <a16:creationId xmlns:a16="http://schemas.microsoft.com/office/drawing/2014/main" id="{1774037D-6E0B-C420-689A-7129F8BF09F9}"/>
              </a:ext>
            </a:extLst>
          </p:cNvPr>
          <p:cNvSpPr txBox="1"/>
          <p:nvPr/>
        </p:nvSpPr>
        <p:spPr>
          <a:xfrm>
            <a:off x="10871200" y="1639417"/>
            <a:ext cx="8553451" cy="5008872"/>
          </a:xfrm>
          <a:prstGeom prst="rect">
            <a:avLst/>
          </a:prstGeom>
          <a:noFill/>
        </p:spPr>
        <p:txBody>
          <a:bodyPr vert="horz" wrap="square" lIns="0" tIns="12065" rIns="0" bIns="0" numCol="1" rtlCol="0">
            <a:spAutoFit/>
          </a:bodyPr>
          <a:lstStyle/>
          <a:p>
            <a:pPr marL="320675" marR="59055" indent="-303213">
              <a:lnSpc>
                <a:spcPct val="102299"/>
              </a:lnSpc>
              <a:spcBef>
                <a:spcPts val="600"/>
              </a:spcBef>
              <a:buChar char="•"/>
              <a:tabLst>
                <a:tab pos="369888" algn="l"/>
              </a:tabLst>
            </a:pPr>
            <a:r>
              <a:rPr lang="en-US" sz="2000" dirty="0">
                <a:solidFill>
                  <a:schemeClr val="tx1">
                    <a:lumMod val="65000"/>
                    <a:lumOff val="35000"/>
                  </a:schemeClr>
                </a:solidFill>
                <a:latin typeface="Arial Unicode MS"/>
                <a:cs typeface="Arial Unicode MS"/>
              </a:rPr>
              <a:t>Conduct orientation sessions for parents upon student registration or enrollment and at the start of every school year to promote this policy and to inform them of their roles and responsibilities, and their rights and duties.</a:t>
            </a:r>
          </a:p>
          <a:p>
            <a:pPr marL="320675" marR="568325" indent="-303213">
              <a:lnSpc>
                <a:spcPct val="102299"/>
              </a:lnSpc>
              <a:spcBef>
                <a:spcPts val="600"/>
              </a:spcBef>
              <a:buChar char="•"/>
              <a:tabLst>
                <a:tab pos="369888" algn="l"/>
              </a:tabLst>
            </a:pPr>
            <a:r>
              <a:rPr lang="en-US" sz="2000" dirty="0">
                <a:solidFill>
                  <a:schemeClr val="tx1">
                    <a:lumMod val="65000"/>
                    <a:lumOff val="35000"/>
                  </a:schemeClr>
                </a:solidFill>
                <a:latin typeface="Arial Unicode MS"/>
                <a:cs typeface="Arial Unicode MS"/>
              </a:rPr>
              <a:t>Maintain student records in compliance with </a:t>
            </a:r>
            <a:r>
              <a:rPr lang="en-US" sz="2000" dirty="0" err="1">
                <a:solidFill>
                  <a:schemeClr val="tx1">
                    <a:lumMod val="65000"/>
                    <a:lumOff val="35000"/>
                  </a:schemeClr>
                </a:solidFill>
                <a:latin typeface="Arial Unicode MS"/>
                <a:cs typeface="Arial Unicode MS"/>
              </a:rPr>
              <a:t>MoE</a:t>
            </a:r>
            <a:r>
              <a:rPr lang="en-US" sz="2000" dirty="0">
                <a:solidFill>
                  <a:schemeClr val="tx1">
                    <a:lumMod val="65000"/>
                    <a:lumOff val="35000"/>
                  </a:schemeClr>
                </a:solidFill>
                <a:latin typeface="Arial Unicode MS"/>
                <a:cs typeface="Arial Unicode MS"/>
              </a:rPr>
              <a:t>/ADEK policy in the Emirate of Abu Dhabi and ensure confidentiality of open and closed cases in accordance with the guidelines.</a:t>
            </a:r>
          </a:p>
          <a:p>
            <a:pPr marL="298205" marR="73025" indent="-358140">
              <a:lnSpc>
                <a:spcPct val="102299"/>
              </a:lnSpc>
              <a:spcBef>
                <a:spcPts val="600"/>
              </a:spcBef>
              <a:buChar char="•"/>
              <a:tabLst>
                <a:tab pos="370205" algn="l"/>
                <a:tab pos="370840" algn="l"/>
              </a:tabLst>
            </a:pPr>
            <a:r>
              <a:rPr lang="en-US" sz="2000" dirty="0">
                <a:solidFill>
                  <a:schemeClr val="tx1">
                    <a:lumMod val="65000"/>
                    <a:lumOff val="35000"/>
                  </a:schemeClr>
                </a:solidFill>
                <a:latin typeface="Arial Unicode MS"/>
                <a:cs typeface="Arial Unicode MS"/>
              </a:rPr>
              <a:t>Immediately suspend any staff member temporarily who is suspected of an offense involving the maltreatment of a child that threatens a child or his/her physical, psychological, moral, or mental safety, including maltreatment, and until the suspicion is adjudicated.</a:t>
            </a:r>
          </a:p>
          <a:p>
            <a:pPr marL="298205" marR="311785" indent="-358140">
              <a:lnSpc>
                <a:spcPct val="102299"/>
              </a:lnSpc>
              <a:spcBef>
                <a:spcPts val="600"/>
              </a:spcBef>
              <a:buChar char="•"/>
              <a:tabLst>
                <a:tab pos="370205" algn="l"/>
                <a:tab pos="370840" algn="l"/>
              </a:tabLst>
            </a:pPr>
            <a:r>
              <a:rPr lang="en-US" sz="2000" dirty="0">
                <a:solidFill>
                  <a:schemeClr val="tx1">
                    <a:lumMod val="65000"/>
                    <a:lumOff val="35000"/>
                  </a:schemeClr>
                </a:solidFill>
                <a:latin typeface="Arial Unicode MS"/>
                <a:cs typeface="Arial Unicode MS"/>
              </a:rPr>
              <a:t>Ensure that students have a safe and confidential space to report any concerns they may have about their rights to safety and wellbeing.</a:t>
            </a:r>
          </a:p>
          <a:p>
            <a:pPr marL="298205" marR="5080" indent="-358140">
              <a:lnSpc>
                <a:spcPct val="102299"/>
              </a:lnSpc>
              <a:spcBef>
                <a:spcPts val="600"/>
              </a:spcBef>
              <a:buChar char="•"/>
              <a:tabLst>
                <a:tab pos="370205" algn="l"/>
                <a:tab pos="370840" algn="l"/>
              </a:tabLst>
            </a:pPr>
            <a:r>
              <a:rPr lang="en-US" sz="2000" dirty="0">
                <a:solidFill>
                  <a:schemeClr val="tx1">
                    <a:lumMod val="65000"/>
                    <a:lumOff val="35000"/>
                  </a:schemeClr>
                </a:solidFill>
                <a:latin typeface="Arial Unicode MS"/>
                <a:cs typeface="Arial Unicode MS"/>
              </a:rPr>
              <a:t>Ensure vetting, hiring and monitoring of all staff, volunteers, and invited visitors according to this policy and relevant safeguarding measures.</a:t>
            </a:r>
          </a:p>
        </p:txBody>
      </p:sp>
      <p:grpSp>
        <p:nvGrpSpPr>
          <p:cNvPr id="24" name="Graphic 5">
            <a:extLst>
              <a:ext uri="{FF2B5EF4-FFF2-40B4-BE49-F238E27FC236}">
                <a16:creationId xmlns:a16="http://schemas.microsoft.com/office/drawing/2014/main" id="{6DF81189-4561-D86E-B5EE-473CAE975964}"/>
              </a:ext>
            </a:extLst>
          </p:cNvPr>
          <p:cNvGrpSpPr/>
          <p:nvPr/>
        </p:nvGrpSpPr>
        <p:grpSpPr>
          <a:xfrm flipH="1">
            <a:off x="12566649" y="8185490"/>
            <a:ext cx="1807423" cy="3071870"/>
            <a:chOff x="16444010" y="636153"/>
            <a:chExt cx="1786051" cy="3035546"/>
          </a:xfrm>
        </p:grpSpPr>
        <p:sp>
          <p:nvSpPr>
            <p:cNvPr id="25" name="Freeform 24">
              <a:extLst>
                <a:ext uri="{FF2B5EF4-FFF2-40B4-BE49-F238E27FC236}">
                  <a16:creationId xmlns:a16="http://schemas.microsoft.com/office/drawing/2014/main" id="{C1A53AFD-54A6-7D4F-95CA-0B06887303A6}"/>
                </a:ext>
              </a:extLst>
            </p:cNvPr>
            <p:cNvSpPr/>
            <p:nvPr/>
          </p:nvSpPr>
          <p:spPr>
            <a:xfrm>
              <a:off x="17334064" y="1877469"/>
              <a:ext cx="148590" cy="1779171"/>
            </a:xfrm>
            <a:custGeom>
              <a:avLst/>
              <a:gdLst>
                <a:gd name="connsiteX0" fmla="*/ 0 w 148590"/>
                <a:gd name="connsiteY0" fmla="*/ 0 h 1779171"/>
                <a:gd name="connsiteX1" fmla="*/ 0 w 148590"/>
                <a:gd name="connsiteY1" fmla="*/ 1779172 h 1779171"/>
              </a:gdLst>
              <a:ahLst/>
              <a:cxnLst>
                <a:cxn ang="0">
                  <a:pos x="connsiteX0" y="connsiteY0"/>
                </a:cxn>
                <a:cxn ang="0">
                  <a:pos x="connsiteX1" y="connsiteY1"/>
                </a:cxn>
              </a:cxnLst>
              <a:rect l="l" t="t" r="r" b="b"/>
              <a:pathLst>
                <a:path w="148590" h="1779171">
                  <a:moveTo>
                    <a:pt x="0" y="0"/>
                  </a:moveTo>
                  <a:lnTo>
                    <a:pt x="0" y="1779172"/>
                  </a:lnTo>
                </a:path>
              </a:pathLst>
            </a:custGeom>
            <a:ln w="111443" cap="rnd">
              <a:solidFill>
                <a:srgbClr val="44352E"/>
              </a:solidFill>
              <a:prstDash val="solid"/>
              <a:miter/>
            </a:ln>
          </p:spPr>
          <p:txBody>
            <a:bodyPr rtlCol="0" anchor="ctr"/>
            <a:lstStyle/>
            <a:p>
              <a:endParaRPr lang="en-AE"/>
            </a:p>
          </p:txBody>
        </p:sp>
        <p:grpSp>
          <p:nvGrpSpPr>
            <p:cNvPr id="26" name="Graphic 5">
              <a:extLst>
                <a:ext uri="{FF2B5EF4-FFF2-40B4-BE49-F238E27FC236}">
                  <a16:creationId xmlns:a16="http://schemas.microsoft.com/office/drawing/2014/main" id="{0528AFFD-AF65-D935-FA05-4E5CFDEEA6DE}"/>
                </a:ext>
              </a:extLst>
            </p:cNvPr>
            <p:cNvGrpSpPr/>
            <p:nvPr/>
          </p:nvGrpSpPr>
          <p:grpSpPr>
            <a:xfrm>
              <a:off x="16464708" y="2360041"/>
              <a:ext cx="1746193" cy="1311658"/>
              <a:chOff x="16464708" y="2360041"/>
              <a:chExt cx="1746193" cy="1311658"/>
            </a:xfrm>
            <a:solidFill>
              <a:srgbClr val="8CB984"/>
            </a:solidFill>
          </p:grpSpPr>
          <p:sp>
            <p:nvSpPr>
              <p:cNvPr id="28" name="Freeform 27">
                <a:extLst>
                  <a:ext uri="{FF2B5EF4-FFF2-40B4-BE49-F238E27FC236}">
                    <a16:creationId xmlns:a16="http://schemas.microsoft.com/office/drawing/2014/main" id="{3EC0C65D-0152-887F-986D-09D76359C152}"/>
                  </a:ext>
                </a:extLst>
              </p:cNvPr>
              <p:cNvSpPr/>
              <p:nvPr/>
            </p:nvSpPr>
            <p:spPr>
              <a:xfrm rot="4791600">
                <a:off x="16524901" y="2419410"/>
                <a:ext cx="750379" cy="740100"/>
              </a:xfrm>
              <a:custGeom>
                <a:avLst/>
                <a:gdLst>
                  <a:gd name="connsiteX0" fmla="*/ 750380 w 750379"/>
                  <a:gd name="connsiteY0" fmla="*/ 0 h 740100"/>
                  <a:gd name="connsiteX1" fmla="*/ 750380 w 750379"/>
                  <a:gd name="connsiteY1" fmla="*/ 0 h 740100"/>
                  <a:gd name="connsiteX2" fmla="*/ 0 w 750379"/>
                  <a:gd name="connsiteY2" fmla="*/ 740101 h 740100"/>
                  <a:gd name="connsiteX3" fmla="*/ 0 w 750379"/>
                  <a:gd name="connsiteY3" fmla="*/ 740101 h 740100"/>
                  <a:gd name="connsiteX4" fmla="*/ 750380 w 750379"/>
                  <a:gd name="connsiteY4" fmla="*/ 0 h 74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379" h="740100">
                    <a:moveTo>
                      <a:pt x="750380" y="0"/>
                    </a:moveTo>
                    <a:lnTo>
                      <a:pt x="750380" y="0"/>
                    </a:lnTo>
                    <a:cubicBezTo>
                      <a:pt x="750380" y="408887"/>
                      <a:pt x="414566" y="740101"/>
                      <a:pt x="0" y="740101"/>
                    </a:cubicBezTo>
                    <a:lnTo>
                      <a:pt x="0" y="740101"/>
                    </a:lnTo>
                    <a:cubicBezTo>
                      <a:pt x="0" y="331213"/>
                      <a:pt x="335814" y="0"/>
                      <a:pt x="750380" y="0"/>
                    </a:cubicBezTo>
                    <a:close/>
                  </a:path>
                </a:pathLst>
              </a:custGeom>
              <a:solidFill>
                <a:srgbClr val="8CB984"/>
              </a:solidFill>
              <a:ln w="148590" cap="flat">
                <a:noFill/>
                <a:prstDash val="solid"/>
                <a:miter/>
              </a:ln>
            </p:spPr>
            <p:txBody>
              <a:bodyPr rtlCol="0" anchor="ctr"/>
              <a:lstStyle/>
              <a:p>
                <a:endParaRPr lang="en-AE"/>
              </a:p>
            </p:txBody>
          </p:sp>
          <p:sp>
            <p:nvSpPr>
              <p:cNvPr id="29" name="Freeform 28">
                <a:extLst>
                  <a:ext uri="{FF2B5EF4-FFF2-40B4-BE49-F238E27FC236}">
                    <a16:creationId xmlns:a16="http://schemas.microsoft.com/office/drawing/2014/main" id="{371F5315-48C2-5D8C-0935-D62A62293DED}"/>
                  </a:ext>
                </a:extLst>
              </p:cNvPr>
              <p:cNvSpPr/>
              <p:nvPr/>
            </p:nvSpPr>
            <p:spPr>
              <a:xfrm rot="6008400">
                <a:off x="17400329" y="2872230"/>
                <a:ext cx="750379" cy="740100"/>
              </a:xfrm>
              <a:custGeom>
                <a:avLst/>
                <a:gdLst>
                  <a:gd name="connsiteX0" fmla="*/ 0 w 750379"/>
                  <a:gd name="connsiteY0" fmla="*/ 0 h 740100"/>
                  <a:gd name="connsiteX1" fmla="*/ 0 w 750379"/>
                  <a:gd name="connsiteY1" fmla="*/ 0 h 740100"/>
                  <a:gd name="connsiteX2" fmla="*/ 750380 w 750379"/>
                  <a:gd name="connsiteY2" fmla="*/ 740101 h 740100"/>
                  <a:gd name="connsiteX3" fmla="*/ 750380 w 750379"/>
                  <a:gd name="connsiteY3" fmla="*/ 740101 h 740100"/>
                  <a:gd name="connsiteX4" fmla="*/ 0 w 750379"/>
                  <a:gd name="connsiteY4" fmla="*/ 0 h 740100"/>
                  <a:gd name="connsiteX5" fmla="*/ 0 w 750379"/>
                  <a:gd name="connsiteY5" fmla="*/ 0 h 74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0379" h="740100">
                    <a:moveTo>
                      <a:pt x="0" y="0"/>
                    </a:moveTo>
                    <a:lnTo>
                      <a:pt x="0" y="0"/>
                    </a:lnTo>
                    <a:cubicBezTo>
                      <a:pt x="414566" y="0"/>
                      <a:pt x="750380" y="331213"/>
                      <a:pt x="750380" y="740101"/>
                    </a:cubicBezTo>
                    <a:lnTo>
                      <a:pt x="750380" y="740101"/>
                    </a:lnTo>
                    <a:cubicBezTo>
                      <a:pt x="335813" y="740101"/>
                      <a:pt x="0" y="408887"/>
                      <a:pt x="0" y="0"/>
                    </a:cubicBezTo>
                    <a:lnTo>
                      <a:pt x="0" y="0"/>
                    </a:lnTo>
                    <a:close/>
                  </a:path>
                </a:pathLst>
              </a:custGeom>
              <a:solidFill>
                <a:srgbClr val="8CB984"/>
              </a:solidFill>
              <a:ln w="148590" cap="flat">
                <a:noFill/>
                <a:prstDash val="solid"/>
                <a:miter/>
              </a:ln>
            </p:spPr>
            <p:txBody>
              <a:bodyPr rtlCol="0" anchor="ctr"/>
              <a:lstStyle/>
              <a:p>
                <a:endParaRPr lang="en-AE"/>
              </a:p>
            </p:txBody>
          </p:sp>
        </p:grpSp>
        <p:sp>
          <p:nvSpPr>
            <p:cNvPr id="27" name="Freeform 26">
              <a:extLst>
                <a:ext uri="{FF2B5EF4-FFF2-40B4-BE49-F238E27FC236}">
                  <a16:creationId xmlns:a16="http://schemas.microsoft.com/office/drawing/2014/main" id="{28CF1264-BEDF-88C8-2644-47B691A5D952}"/>
                </a:ext>
              </a:extLst>
            </p:cNvPr>
            <p:cNvSpPr/>
            <p:nvPr/>
          </p:nvSpPr>
          <p:spPr>
            <a:xfrm>
              <a:off x="16444010" y="636153"/>
              <a:ext cx="1786051" cy="1761585"/>
            </a:xfrm>
            <a:custGeom>
              <a:avLst/>
              <a:gdLst>
                <a:gd name="connsiteX0" fmla="*/ 1784566 w 1786051"/>
                <a:gd name="connsiteY0" fmla="*/ 882258 h 1761585"/>
                <a:gd name="connsiteX1" fmla="*/ 1690954 w 1786051"/>
                <a:gd name="connsiteY1" fmla="*/ 791394 h 1761585"/>
                <a:gd name="connsiteX2" fmla="*/ 1356627 w 1786051"/>
                <a:gd name="connsiteY2" fmla="*/ 791394 h 1761585"/>
                <a:gd name="connsiteX3" fmla="*/ 1665694 w 1786051"/>
                <a:gd name="connsiteY3" fmla="*/ 665358 h 1761585"/>
                <a:gd name="connsiteX4" fmla="*/ 1716215 w 1786051"/>
                <a:gd name="connsiteY4" fmla="*/ 545183 h 1761585"/>
                <a:gd name="connsiteX5" fmla="*/ 1630032 w 1786051"/>
                <a:gd name="connsiteY5" fmla="*/ 489492 h 1761585"/>
                <a:gd name="connsiteX6" fmla="*/ 1594371 w 1786051"/>
                <a:gd name="connsiteY6" fmla="*/ 496820 h 1761585"/>
                <a:gd name="connsiteX7" fmla="*/ 1285304 w 1786051"/>
                <a:gd name="connsiteY7" fmla="*/ 622857 h 1761585"/>
                <a:gd name="connsiteX8" fmla="*/ 1521562 w 1786051"/>
                <a:gd name="connsiteY8" fmla="*/ 389835 h 1761585"/>
                <a:gd name="connsiteX9" fmla="*/ 1548308 w 1786051"/>
                <a:gd name="connsiteY9" fmla="*/ 325351 h 1761585"/>
                <a:gd name="connsiteX10" fmla="*/ 1521562 w 1786051"/>
                <a:gd name="connsiteY10" fmla="*/ 260867 h 1761585"/>
                <a:gd name="connsiteX11" fmla="*/ 1390802 w 1786051"/>
                <a:gd name="connsiteY11" fmla="*/ 260867 h 1761585"/>
                <a:gd name="connsiteX12" fmla="*/ 1154544 w 1786051"/>
                <a:gd name="connsiteY12" fmla="*/ 493889 h 1761585"/>
                <a:gd name="connsiteX13" fmla="*/ 1282332 w 1786051"/>
                <a:gd name="connsiteY13" fmla="*/ 189055 h 1761585"/>
                <a:gd name="connsiteX14" fmla="*/ 1289761 w 1786051"/>
                <a:gd name="connsiteY14" fmla="*/ 153882 h 1761585"/>
                <a:gd name="connsiteX15" fmla="*/ 1233297 w 1786051"/>
                <a:gd name="connsiteY15" fmla="*/ 68881 h 1761585"/>
                <a:gd name="connsiteX16" fmla="*/ 1111453 w 1786051"/>
                <a:gd name="connsiteY16" fmla="*/ 118709 h 1761585"/>
                <a:gd name="connsiteX17" fmla="*/ 983666 w 1786051"/>
                <a:gd name="connsiteY17" fmla="*/ 423543 h 1761585"/>
                <a:gd name="connsiteX18" fmla="*/ 983666 w 1786051"/>
                <a:gd name="connsiteY18" fmla="*/ 90864 h 1761585"/>
                <a:gd name="connsiteX19" fmla="*/ 891540 w 1786051"/>
                <a:gd name="connsiteY19" fmla="*/ 0 h 1761585"/>
                <a:gd name="connsiteX20" fmla="*/ 799414 w 1786051"/>
                <a:gd name="connsiteY20" fmla="*/ 90864 h 1761585"/>
                <a:gd name="connsiteX21" fmla="*/ 799414 w 1786051"/>
                <a:gd name="connsiteY21" fmla="*/ 420611 h 1761585"/>
                <a:gd name="connsiteX22" fmla="*/ 671627 w 1786051"/>
                <a:gd name="connsiteY22" fmla="*/ 115778 h 1761585"/>
                <a:gd name="connsiteX23" fmla="*/ 549783 w 1786051"/>
                <a:gd name="connsiteY23" fmla="*/ 65950 h 1761585"/>
                <a:gd name="connsiteX24" fmla="*/ 491833 w 1786051"/>
                <a:gd name="connsiteY24" fmla="*/ 150951 h 1761585"/>
                <a:gd name="connsiteX25" fmla="*/ 499262 w 1786051"/>
                <a:gd name="connsiteY25" fmla="*/ 186124 h 1761585"/>
                <a:gd name="connsiteX26" fmla="*/ 627050 w 1786051"/>
                <a:gd name="connsiteY26" fmla="*/ 490958 h 1761585"/>
                <a:gd name="connsiteX27" fmla="*/ 390792 w 1786051"/>
                <a:gd name="connsiteY27" fmla="*/ 257936 h 1761585"/>
                <a:gd name="connsiteX28" fmla="*/ 325412 w 1786051"/>
                <a:gd name="connsiteY28" fmla="*/ 231556 h 1761585"/>
                <a:gd name="connsiteX29" fmla="*/ 260033 w 1786051"/>
                <a:gd name="connsiteY29" fmla="*/ 257936 h 1761585"/>
                <a:gd name="connsiteX30" fmla="*/ 260033 w 1786051"/>
                <a:gd name="connsiteY30" fmla="*/ 388370 h 1761585"/>
                <a:gd name="connsiteX31" fmla="*/ 496291 w 1786051"/>
                <a:gd name="connsiteY31" fmla="*/ 621391 h 1761585"/>
                <a:gd name="connsiteX32" fmla="*/ 188709 w 1786051"/>
                <a:gd name="connsiteY32" fmla="*/ 495354 h 1761585"/>
                <a:gd name="connsiteX33" fmla="*/ 153048 w 1786051"/>
                <a:gd name="connsiteY33" fmla="*/ 488027 h 1761585"/>
                <a:gd name="connsiteX34" fmla="*/ 66866 w 1786051"/>
                <a:gd name="connsiteY34" fmla="*/ 543717 h 1761585"/>
                <a:gd name="connsiteX35" fmla="*/ 117386 w 1786051"/>
                <a:gd name="connsiteY35" fmla="*/ 663892 h 1761585"/>
                <a:gd name="connsiteX36" fmla="*/ 426453 w 1786051"/>
                <a:gd name="connsiteY36" fmla="*/ 789929 h 1761585"/>
                <a:gd name="connsiteX37" fmla="*/ 92126 w 1786051"/>
                <a:gd name="connsiteY37" fmla="*/ 789929 h 1761585"/>
                <a:gd name="connsiteX38" fmla="*/ 0 w 1786051"/>
                <a:gd name="connsiteY38" fmla="*/ 880793 h 1761585"/>
                <a:gd name="connsiteX39" fmla="*/ 92126 w 1786051"/>
                <a:gd name="connsiteY39" fmla="*/ 971657 h 1761585"/>
                <a:gd name="connsiteX40" fmla="*/ 426453 w 1786051"/>
                <a:gd name="connsiteY40" fmla="*/ 971657 h 1761585"/>
                <a:gd name="connsiteX41" fmla="*/ 117386 w 1786051"/>
                <a:gd name="connsiteY41" fmla="*/ 1097693 h 1761585"/>
                <a:gd name="connsiteX42" fmla="*/ 66866 w 1786051"/>
                <a:gd name="connsiteY42" fmla="*/ 1217868 h 1761585"/>
                <a:gd name="connsiteX43" fmla="*/ 188709 w 1786051"/>
                <a:gd name="connsiteY43" fmla="*/ 1267697 h 1761585"/>
                <a:gd name="connsiteX44" fmla="*/ 496291 w 1786051"/>
                <a:gd name="connsiteY44" fmla="*/ 1141660 h 1761585"/>
                <a:gd name="connsiteX45" fmla="*/ 260033 w 1786051"/>
                <a:gd name="connsiteY45" fmla="*/ 1374681 h 1761585"/>
                <a:gd name="connsiteX46" fmla="*/ 260033 w 1786051"/>
                <a:gd name="connsiteY46" fmla="*/ 1505115 h 1761585"/>
                <a:gd name="connsiteX47" fmla="*/ 390792 w 1786051"/>
                <a:gd name="connsiteY47" fmla="*/ 1505115 h 1761585"/>
                <a:gd name="connsiteX48" fmla="*/ 627050 w 1786051"/>
                <a:gd name="connsiteY48" fmla="*/ 1272093 h 1761585"/>
                <a:gd name="connsiteX49" fmla="*/ 499262 w 1786051"/>
                <a:gd name="connsiteY49" fmla="*/ 1575461 h 1761585"/>
                <a:gd name="connsiteX50" fmla="*/ 549783 w 1786051"/>
                <a:gd name="connsiteY50" fmla="*/ 1695636 h 1761585"/>
                <a:gd name="connsiteX51" fmla="*/ 671627 w 1786051"/>
                <a:gd name="connsiteY51" fmla="*/ 1645807 h 1761585"/>
                <a:gd name="connsiteX52" fmla="*/ 799414 w 1786051"/>
                <a:gd name="connsiteY52" fmla="*/ 1340974 h 1761585"/>
                <a:gd name="connsiteX53" fmla="*/ 799414 w 1786051"/>
                <a:gd name="connsiteY53" fmla="*/ 1670722 h 1761585"/>
                <a:gd name="connsiteX54" fmla="*/ 891540 w 1786051"/>
                <a:gd name="connsiteY54" fmla="*/ 1761585 h 1761585"/>
                <a:gd name="connsiteX55" fmla="*/ 983666 w 1786051"/>
                <a:gd name="connsiteY55" fmla="*/ 1670722 h 1761585"/>
                <a:gd name="connsiteX56" fmla="*/ 983666 w 1786051"/>
                <a:gd name="connsiteY56" fmla="*/ 1340974 h 1761585"/>
                <a:gd name="connsiteX57" fmla="*/ 1111453 w 1786051"/>
                <a:gd name="connsiteY57" fmla="*/ 1645807 h 1761585"/>
                <a:gd name="connsiteX58" fmla="*/ 1233297 w 1786051"/>
                <a:gd name="connsiteY58" fmla="*/ 1695636 h 1761585"/>
                <a:gd name="connsiteX59" fmla="*/ 1283818 w 1786051"/>
                <a:gd name="connsiteY59" fmla="*/ 1575461 h 1761585"/>
                <a:gd name="connsiteX60" fmla="*/ 1156030 w 1786051"/>
                <a:gd name="connsiteY60" fmla="*/ 1272093 h 1761585"/>
                <a:gd name="connsiteX61" fmla="*/ 1392288 w 1786051"/>
                <a:gd name="connsiteY61" fmla="*/ 1505115 h 1761585"/>
                <a:gd name="connsiteX62" fmla="*/ 1523048 w 1786051"/>
                <a:gd name="connsiteY62" fmla="*/ 1505115 h 1761585"/>
                <a:gd name="connsiteX63" fmla="*/ 1523048 w 1786051"/>
                <a:gd name="connsiteY63" fmla="*/ 1374681 h 1761585"/>
                <a:gd name="connsiteX64" fmla="*/ 1286789 w 1786051"/>
                <a:gd name="connsiteY64" fmla="*/ 1141660 h 1761585"/>
                <a:gd name="connsiteX65" fmla="*/ 1595857 w 1786051"/>
                <a:gd name="connsiteY65" fmla="*/ 1267697 h 1761585"/>
                <a:gd name="connsiteX66" fmla="*/ 1717701 w 1786051"/>
                <a:gd name="connsiteY66" fmla="*/ 1217868 h 1761585"/>
                <a:gd name="connsiteX67" fmla="*/ 1667180 w 1786051"/>
                <a:gd name="connsiteY67" fmla="*/ 1097693 h 1761585"/>
                <a:gd name="connsiteX68" fmla="*/ 1358113 w 1786051"/>
                <a:gd name="connsiteY68" fmla="*/ 971657 h 1761585"/>
                <a:gd name="connsiteX69" fmla="*/ 1692440 w 1786051"/>
                <a:gd name="connsiteY69" fmla="*/ 971657 h 1761585"/>
                <a:gd name="connsiteX70" fmla="*/ 1786052 w 1786051"/>
                <a:gd name="connsiteY70" fmla="*/ 880793 h 1761585"/>
                <a:gd name="connsiteX71" fmla="*/ 890054 w 1786051"/>
                <a:gd name="connsiteY71" fmla="*/ 1106487 h 1761585"/>
                <a:gd name="connsiteX72" fmla="*/ 662711 w 1786051"/>
                <a:gd name="connsiteY72" fmla="*/ 882258 h 1761585"/>
                <a:gd name="connsiteX73" fmla="*/ 890054 w 1786051"/>
                <a:gd name="connsiteY73" fmla="*/ 658030 h 1761585"/>
                <a:gd name="connsiteX74" fmla="*/ 1117397 w 1786051"/>
                <a:gd name="connsiteY74" fmla="*/ 882258 h 1761585"/>
                <a:gd name="connsiteX75" fmla="*/ 890054 w 1786051"/>
                <a:gd name="connsiteY75" fmla="*/ 1106487 h 176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786051" h="1761585">
                  <a:moveTo>
                    <a:pt x="1784566" y="882258"/>
                  </a:moveTo>
                  <a:cubicBezTo>
                    <a:pt x="1784566" y="832430"/>
                    <a:pt x="1742961" y="791394"/>
                    <a:pt x="1690954" y="791394"/>
                  </a:cubicBezTo>
                  <a:lnTo>
                    <a:pt x="1356627" y="791394"/>
                  </a:lnTo>
                  <a:lnTo>
                    <a:pt x="1665694" y="665358"/>
                  </a:lnTo>
                  <a:cubicBezTo>
                    <a:pt x="1713243" y="646305"/>
                    <a:pt x="1735531" y="592080"/>
                    <a:pt x="1716215" y="545183"/>
                  </a:cubicBezTo>
                  <a:cubicBezTo>
                    <a:pt x="1701356" y="510010"/>
                    <a:pt x="1667180" y="489492"/>
                    <a:pt x="1630032" y="489492"/>
                  </a:cubicBezTo>
                  <a:cubicBezTo>
                    <a:pt x="1618145" y="489492"/>
                    <a:pt x="1606258" y="492423"/>
                    <a:pt x="1594371" y="496820"/>
                  </a:cubicBezTo>
                  <a:lnTo>
                    <a:pt x="1285304" y="622857"/>
                  </a:lnTo>
                  <a:lnTo>
                    <a:pt x="1521562" y="389835"/>
                  </a:lnTo>
                  <a:cubicBezTo>
                    <a:pt x="1539392" y="372248"/>
                    <a:pt x="1548308" y="348800"/>
                    <a:pt x="1548308" y="325351"/>
                  </a:cubicBezTo>
                  <a:cubicBezTo>
                    <a:pt x="1548308" y="301902"/>
                    <a:pt x="1539392" y="278454"/>
                    <a:pt x="1521562" y="260867"/>
                  </a:cubicBezTo>
                  <a:cubicBezTo>
                    <a:pt x="1485900" y="225694"/>
                    <a:pt x="1426464" y="225694"/>
                    <a:pt x="1390802" y="260867"/>
                  </a:cubicBezTo>
                  <a:lnTo>
                    <a:pt x="1154544" y="493889"/>
                  </a:lnTo>
                  <a:lnTo>
                    <a:pt x="1282332" y="189055"/>
                  </a:lnTo>
                  <a:cubicBezTo>
                    <a:pt x="1286789" y="177331"/>
                    <a:pt x="1289761" y="165607"/>
                    <a:pt x="1289761" y="153882"/>
                  </a:cubicBezTo>
                  <a:cubicBezTo>
                    <a:pt x="1289761" y="118709"/>
                    <a:pt x="1268959" y="83536"/>
                    <a:pt x="1233297" y="68881"/>
                  </a:cubicBezTo>
                  <a:cubicBezTo>
                    <a:pt x="1185748" y="49829"/>
                    <a:pt x="1132256" y="71812"/>
                    <a:pt x="1111453" y="118709"/>
                  </a:cubicBezTo>
                  <a:lnTo>
                    <a:pt x="983666" y="423543"/>
                  </a:lnTo>
                  <a:lnTo>
                    <a:pt x="983666" y="90864"/>
                  </a:lnTo>
                  <a:cubicBezTo>
                    <a:pt x="983666" y="41035"/>
                    <a:pt x="942061" y="0"/>
                    <a:pt x="891540" y="0"/>
                  </a:cubicBezTo>
                  <a:cubicBezTo>
                    <a:pt x="841019" y="0"/>
                    <a:pt x="799414" y="41035"/>
                    <a:pt x="799414" y="90864"/>
                  </a:cubicBezTo>
                  <a:lnTo>
                    <a:pt x="799414" y="420611"/>
                  </a:lnTo>
                  <a:lnTo>
                    <a:pt x="671627" y="115778"/>
                  </a:lnTo>
                  <a:cubicBezTo>
                    <a:pt x="652310" y="68881"/>
                    <a:pt x="597332" y="46897"/>
                    <a:pt x="549783" y="65950"/>
                  </a:cubicBezTo>
                  <a:cubicBezTo>
                    <a:pt x="514121" y="80605"/>
                    <a:pt x="491833" y="114313"/>
                    <a:pt x="491833" y="150951"/>
                  </a:cubicBezTo>
                  <a:cubicBezTo>
                    <a:pt x="491833" y="162676"/>
                    <a:pt x="494805" y="174400"/>
                    <a:pt x="499262" y="186124"/>
                  </a:cubicBezTo>
                  <a:lnTo>
                    <a:pt x="627050" y="490958"/>
                  </a:lnTo>
                  <a:lnTo>
                    <a:pt x="390792" y="257936"/>
                  </a:lnTo>
                  <a:cubicBezTo>
                    <a:pt x="372961" y="240349"/>
                    <a:pt x="349187" y="231556"/>
                    <a:pt x="325412" y="231556"/>
                  </a:cubicBezTo>
                  <a:cubicBezTo>
                    <a:pt x="301638" y="231556"/>
                    <a:pt x="277863" y="240349"/>
                    <a:pt x="260033" y="257936"/>
                  </a:cubicBezTo>
                  <a:cubicBezTo>
                    <a:pt x="224371" y="293109"/>
                    <a:pt x="224371" y="351731"/>
                    <a:pt x="260033" y="388370"/>
                  </a:cubicBezTo>
                  <a:lnTo>
                    <a:pt x="496291" y="621391"/>
                  </a:lnTo>
                  <a:lnTo>
                    <a:pt x="188709" y="495354"/>
                  </a:lnTo>
                  <a:cubicBezTo>
                    <a:pt x="176822" y="490958"/>
                    <a:pt x="164935" y="488027"/>
                    <a:pt x="153048" y="488027"/>
                  </a:cubicBezTo>
                  <a:cubicBezTo>
                    <a:pt x="117386" y="488027"/>
                    <a:pt x="81725" y="508544"/>
                    <a:pt x="66866" y="543717"/>
                  </a:cubicBezTo>
                  <a:cubicBezTo>
                    <a:pt x="47549" y="590615"/>
                    <a:pt x="69837" y="643374"/>
                    <a:pt x="117386" y="663892"/>
                  </a:cubicBezTo>
                  <a:lnTo>
                    <a:pt x="426453" y="789929"/>
                  </a:lnTo>
                  <a:lnTo>
                    <a:pt x="92126" y="789929"/>
                  </a:lnTo>
                  <a:cubicBezTo>
                    <a:pt x="41605" y="789929"/>
                    <a:pt x="0" y="830964"/>
                    <a:pt x="0" y="880793"/>
                  </a:cubicBezTo>
                  <a:cubicBezTo>
                    <a:pt x="0" y="930621"/>
                    <a:pt x="41605" y="971657"/>
                    <a:pt x="92126" y="971657"/>
                  </a:cubicBezTo>
                  <a:lnTo>
                    <a:pt x="426453" y="971657"/>
                  </a:lnTo>
                  <a:lnTo>
                    <a:pt x="117386" y="1097693"/>
                  </a:lnTo>
                  <a:cubicBezTo>
                    <a:pt x="69837" y="1116745"/>
                    <a:pt x="47549" y="1170971"/>
                    <a:pt x="66866" y="1217868"/>
                  </a:cubicBezTo>
                  <a:cubicBezTo>
                    <a:pt x="86182" y="1264766"/>
                    <a:pt x="141160" y="1286749"/>
                    <a:pt x="188709" y="1267697"/>
                  </a:cubicBezTo>
                  <a:lnTo>
                    <a:pt x="496291" y="1141660"/>
                  </a:lnTo>
                  <a:lnTo>
                    <a:pt x="260033" y="1374681"/>
                  </a:lnTo>
                  <a:cubicBezTo>
                    <a:pt x="224371" y="1409855"/>
                    <a:pt x="224371" y="1468476"/>
                    <a:pt x="260033" y="1505115"/>
                  </a:cubicBezTo>
                  <a:cubicBezTo>
                    <a:pt x="295694" y="1541754"/>
                    <a:pt x="355130" y="1540288"/>
                    <a:pt x="390792" y="1505115"/>
                  </a:cubicBezTo>
                  <a:lnTo>
                    <a:pt x="627050" y="1272093"/>
                  </a:lnTo>
                  <a:lnTo>
                    <a:pt x="499262" y="1575461"/>
                  </a:lnTo>
                  <a:cubicBezTo>
                    <a:pt x="479946" y="1622359"/>
                    <a:pt x="502234" y="1675118"/>
                    <a:pt x="549783" y="1695636"/>
                  </a:cubicBezTo>
                  <a:cubicBezTo>
                    <a:pt x="597332" y="1714688"/>
                    <a:pt x="650824" y="1692705"/>
                    <a:pt x="671627" y="1645807"/>
                  </a:cubicBezTo>
                  <a:lnTo>
                    <a:pt x="799414" y="1340974"/>
                  </a:lnTo>
                  <a:lnTo>
                    <a:pt x="799414" y="1670722"/>
                  </a:lnTo>
                  <a:cubicBezTo>
                    <a:pt x="799414" y="1720550"/>
                    <a:pt x="841019" y="1761585"/>
                    <a:pt x="891540" y="1761585"/>
                  </a:cubicBezTo>
                  <a:cubicBezTo>
                    <a:pt x="942061" y="1761585"/>
                    <a:pt x="983666" y="1720550"/>
                    <a:pt x="983666" y="1670722"/>
                  </a:cubicBezTo>
                  <a:lnTo>
                    <a:pt x="983666" y="1340974"/>
                  </a:lnTo>
                  <a:lnTo>
                    <a:pt x="1111453" y="1645807"/>
                  </a:lnTo>
                  <a:cubicBezTo>
                    <a:pt x="1130770" y="1692705"/>
                    <a:pt x="1185748" y="1714688"/>
                    <a:pt x="1233297" y="1695636"/>
                  </a:cubicBezTo>
                  <a:cubicBezTo>
                    <a:pt x="1280846" y="1675118"/>
                    <a:pt x="1303134" y="1622359"/>
                    <a:pt x="1283818" y="1575461"/>
                  </a:cubicBezTo>
                  <a:lnTo>
                    <a:pt x="1156030" y="1272093"/>
                  </a:lnTo>
                  <a:lnTo>
                    <a:pt x="1392288" y="1505115"/>
                  </a:lnTo>
                  <a:cubicBezTo>
                    <a:pt x="1427950" y="1540288"/>
                    <a:pt x="1487386" y="1540288"/>
                    <a:pt x="1523048" y="1505115"/>
                  </a:cubicBezTo>
                  <a:cubicBezTo>
                    <a:pt x="1558709" y="1469942"/>
                    <a:pt x="1558709" y="1411320"/>
                    <a:pt x="1523048" y="1374681"/>
                  </a:cubicBezTo>
                  <a:lnTo>
                    <a:pt x="1286789" y="1141660"/>
                  </a:lnTo>
                  <a:lnTo>
                    <a:pt x="1595857" y="1267697"/>
                  </a:lnTo>
                  <a:cubicBezTo>
                    <a:pt x="1643406" y="1286749"/>
                    <a:pt x="1696898" y="1264766"/>
                    <a:pt x="1717701" y="1217868"/>
                  </a:cubicBezTo>
                  <a:cubicBezTo>
                    <a:pt x="1737017" y="1170971"/>
                    <a:pt x="1714729" y="1118211"/>
                    <a:pt x="1667180" y="1097693"/>
                  </a:cubicBezTo>
                  <a:lnTo>
                    <a:pt x="1358113" y="971657"/>
                  </a:lnTo>
                  <a:lnTo>
                    <a:pt x="1692440" y="971657"/>
                  </a:lnTo>
                  <a:cubicBezTo>
                    <a:pt x="1744447" y="971657"/>
                    <a:pt x="1786052" y="930621"/>
                    <a:pt x="1786052" y="880793"/>
                  </a:cubicBezTo>
                  <a:close/>
                  <a:moveTo>
                    <a:pt x="890054" y="1106487"/>
                  </a:moveTo>
                  <a:cubicBezTo>
                    <a:pt x="763753" y="1106487"/>
                    <a:pt x="662711" y="1005364"/>
                    <a:pt x="662711" y="882258"/>
                  </a:cubicBezTo>
                  <a:cubicBezTo>
                    <a:pt x="662711" y="759152"/>
                    <a:pt x="765239" y="658030"/>
                    <a:pt x="890054" y="658030"/>
                  </a:cubicBezTo>
                  <a:cubicBezTo>
                    <a:pt x="1014870" y="658030"/>
                    <a:pt x="1117397" y="759152"/>
                    <a:pt x="1117397" y="882258"/>
                  </a:cubicBezTo>
                  <a:cubicBezTo>
                    <a:pt x="1117397" y="1005364"/>
                    <a:pt x="1014870" y="1106487"/>
                    <a:pt x="890054" y="1106487"/>
                  </a:cubicBezTo>
                  <a:close/>
                </a:path>
              </a:pathLst>
            </a:custGeom>
            <a:solidFill>
              <a:srgbClr val="8F7CC1"/>
            </a:solidFill>
            <a:ln w="148590" cap="flat">
              <a:noFill/>
              <a:prstDash val="solid"/>
              <a:miter/>
            </a:ln>
          </p:spPr>
          <p:txBody>
            <a:bodyPr rtlCol="0" anchor="ctr"/>
            <a:lstStyle/>
            <a:p>
              <a:pPr algn="l" rtl="0"/>
              <a:endParaRPr lang="en-AE"/>
            </a:p>
          </p:txBody>
        </p:sp>
      </p:grpSp>
      <p:grpSp>
        <p:nvGrpSpPr>
          <p:cNvPr id="43" name="Graphic 5">
            <a:extLst>
              <a:ext uri="{FF2B5EF4-FFF2-40B4-BE49-F238E27FC236}">
                <a16:creationId xmlns:a16="http://schemas.microsoft.com/office/drawing/2014/main" id="{93A7C8CB-FFA8-D507-6CB4-2B7229BAEFAC}"/>
              </a:ext>
            </a:extLst>
          </p:cNvPr>
          <p:cNvGrpSpPr/>
          <p:nvPr/>
        </p:nvGrpSpPr>
        <p:grpSpPr>
          <a:xfrm flipH="1">
            <a:off x="14258924" y="9002668"/>
            <a:ext cx="1326613" cy="2254691"/>
            <a:chOff x="16444010" y="636153"/>
            <a:chExt cx="1786051" cy="3035546"/>
          </a:xfrm>
        </p:grpSpPr>
        <p:sp>
          <p:nvSpPr>
            <p:cNvPr id="44" name="Freeform 43">
              <a:extLst>
                <a:ext uri="{FF2B5EF4-FFF2-40B4-BE49-F238E27FC236}">
                  <a16:creationId xmlns:a16="http://schemas.microsoft.com/office/drawing/2014/main" id="{11D93AF6-BF05-328D-5019-D2CEBA2F4313}"/>
                </a:ext>
              </a:extLst>
            </p:cNvPr>
            <p:cNvSpPr/>
            <p:nvPr/>
          </p:nvSpPr>
          <p:spPr>
            <a:xfrm>
              <a:off x="17334064" y="1877469"/>
              <a:ext cx="148590" cy="1779171"/>
            </a:xfrm>
            <a:custGeom>
              <a:avLst/>
              <a:gdLst>
                <a:gd name="connsiteX0" fmla="*/ 0 w 148590"/>
                <a:gd name="connsiteY0" fmla="*/ 0 h 1779171"/>
                <a:gd name="connsiteX1" fmla="*/ 0 w 148590"/>
                <a:gd name="connsiteY1" fmla="*/ 1779172 h 1779171"/>
              </a:gdLst>
              <a:ahLst/>
              <a:cxnLst>
                <a:cxn ang="0">
                  <a:pos x="connsiteX0" y="connsiteY0"/>
                </a:cxn>
                <a:cxn ang="0">
                  <a:pos x="connsiteX1" y="connsiteY1"/>
                </a:cxn>
              </a:cxnLst>
              <a:rect l="l" t="t" r="r" b="b"/>
              <a:pathLst>
                <a:path w="148590" h="1779171">
                  <a:moveTo>
                    <a:pt x="0" y="0"/>
                  </a:moveTo>
                  <a:lnTo>
                    <a:pt x="0" y="1779172"/>
                  </a:lnTo>
                </a:path>
              </a:pathLst>
            </a:custGeom>
            <a:ln w="111443" cap="rnd">
              <a:solidFill>
                <a:srgbClr val="44352E"/>
              </a:solidFill>
              <a:prstDash val="solid"/>
              <a:miter/>
            </a:ln>
          </p:spPr>
          <p:txBody>
            <a:bodyPr rtlCol="0" anchor="ctr"/>
            <a:lstStyle/>
            <a:p>
              <a:endParaRPr lang="en-AE"/>
            </a:p>
          </p:txBody>
        </p:sp>
        <p:grpSp>
          <p:nvGrpSpPr>
            <p:cNvPr id="45" name="Graphic 5">
              <a:extLst>
                <a:ext uri="{FF2B5EF4-FFF2-40B4-BE49-F238E27FC236}">
                  <a16:creationId xmlns:a16="http://schemas.microsoft.com/office/drawing/2014/main" id="{750482CD-6E24-2495-C44D-87E861498AE8}"/>
                </a:ext>
              </a:extLst>
            </p:cNvPr>
            <p:cNvGrpSpPr/>
            <p:nvPr/>
          </p:nvGrpSpPr>
          <p:grpSpPr>
            <a:xfrm>
              <a:off x="16464708" y="2360041"/>
              <a:ext cx="1746193" cy="1311658"/>
              <a:chOff x="16464708" y="2360041"/>
              <a:chExt cx="1746193" cy="1311658"/>
            </a:xfrm>
            <a:solidFill>
              <a:srgbClr val="8CB984"/>
            </a:solidFill>
          </p:grpSpPr>
          <p:sp>
            <p:nvSpPr>
              <p:cNvPr id="47" name="Freeform 46">
                <a:extLst>
                  <a:ext uri="{FF2B5EF4-FFF2-40B4-BE49-F238E27FC236}">
                    <a16:creationId xmlns:a16="http://schemas.microsoft.com/office/drawing/2014/main" id="{16369EF2-84B0-E3D2-5E32-215A923FD729}"/>
                  </a:ext>
                </a:extLst>
              </p:cNvPr>
              <p:cNvSpPr/>
              <p:nvPr/>
            </p:nvSpPr>
            <p:spPr>
              <a:xfrm rot="4791600">
                <a:off x="16524901" y="2419410"/>
                <a:ext cx="750379" cy="740100"/>
              </a:xfrm>
              <a:custGeom>
                <a:avLst/>
                <a:gdLst>
                  <a:gd name="connsiteX0" fmla="*/ 750380 w 750379"/>
                  <a:gd name="connsiteY0" fmla="*/ 0 h 740100"/>
                  <a:gd name="connsiteX1" fmla="*/ 750380 w 750379"/>
                  <a:gd name="connsiteY1" fmla="*/ 0 h 740100"/>
                  <a:gd name="connsiteX2" fmla="*/ 0 w 750379"/>
                  <a:gd name="connsiteY2" fmla="*/ 740101 h 740100"/>
                  <a:gd name="connsiteX3" fmla="*/ 0 w 750379"/>
                  <a:gd name="connsiteY3" fmla="*/ 740101 h 740100"/>
                  <a:gd name="connsiteX4" fmla="*/ 750380 w 750379"/>
                  <a:gd name="connsiteY4" fmla="*/ 0 h 74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379" h="740100">
                    <a:moveTo>
                      <a:pt x="750380" y="0"/>
                    </a:moveTo>
                    <a:lnTo>
                      <a:pt x="750380" y="0"/>
                    </a:lnTo>
                    <a:cubicBezTo>
                      <a:pt x="750380" y="408887"/>
                      <a:pt x="414566" y="740101"/>
                      <a:pt x="0" y="740101"/>
                    </a:cubicBezTo>
                    <a:lnTo>
                      <a:pt x="0" y="740101"/>
                    </a:lnTo>
                    <a:cubicBezTo>
                      <a:pt x="0" y="331213"/>
                      <a:pt x="335814" y="0"/>
                      <a:pt x="750380" y="0"/>
                    </a:cubicBezTo>
                    <a:close/>
                  </a:path>
                </a:pathLst>
              </a:custGeom>
              <a:solidFill>
                <a:srgbClr val="8CB984"/>
              </a:solidFill>
              <a:ln w="148590" cap="flat">
                <a:noFill/>
                <a:prstDash val="solid"/>
                <a:miter/>
              </a:ln>
            </p:spPr>
            <p:txBody>
              <a:bodyPr rtlCol="0" anchor="ctr"/>
              <a:lstStyle/>
              <a:p>
                <a:endParaRPr lang="en-AE"/>
              </a:p>
            </p:txBody>
          </p:sp>
          <p:sp>
            <p:nvSpPr>
              <p:cNvPr id="48" name="Freeform 47">
                <a:extLst>
                  <a:ext uri="{FF2B5EF4-FFF2-40B4-BE49-F238E27FC236}">
                    <a16:creationId xmlns:a16="http://schemas.microsoft.com/office/drawing/2014/main" id="{8B8E7121-5E80-D144-D924-E3D962850422}"/>
                  </a:ext>
                </a:extLst>
              </p:cNvPr>
              <p:cNvSpPr/>
              <p:nvPr/>
            </p:nvSpPr>
            <p:spPr>
              <a:xfrm rot="6008400">
                <a:off x="17400329" y="2872230"/>
                <a:ext cx="750379" cy="740100"/>
              </a:xfrm>
              <a:custGeom>
                <a:avLst/>
                <a:gdLst>
                  <a:gd name="connsiteX0" fmla="*/ 0 w 750379"/>
                  <a:gd name="connsiteY0" fmla="*/ 0 h 740100"/>
                  <a:gd name="connsiteX1" fmla="*/ 0 w 750379"/>
                  <a:gd name="connsiteY1" fmla="*/ 0 h 740100"/>
                  <a:gd name="connsiteX2" fmla="*/ 750380 w 750379"/>
                  <a:gd name="connsiteY2" fmla="*/ 740101 h 740100"/>
                  <a:gd name="connsiteX3" fmla="*/ 750380 w 750379"/>
                  <a:gd name="connsiteY3" fmla="*/ 740101 h 740100"/>
                  <a:gd name="connsiteX4" fmla="*/ 0 w 750379"/>
                  <a:gd name="connsiteY4" fmla="*/ 0 h 740100"/>
                  <a:gd name="connsiteX5" fmla="*/ 0 w 750379"/>
                  <a:gd name="connsiteY5" fmla="*/ 0 h 74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0379" h="740100">
                    <a:moveTo>
                      <a:pt x="0" y="0"/>
                    </a:moveTo>
                    <a:lnTo>
                      <a:pt x="0" y="0"/>
                    </a:lnTo>
                    <a:cubicBezTo>
                      <a:pt x="414566" y="0"/>
                      <a:pt x="750380" y="331213"/>
                      <a:pt x="750380" y="740101"/>
                    </a:cubicBezTo>
                    <a:lnTo>
                      <a:pt x="750380" y="740101"/>
                    </a:lnTo>
                    <a:cubicBezTo>
                      <a:pt x="335813" y="740101"/>
                      <a:pt x="0" y="408887"/>
                      <a:pt x="0" y="0"/>
                    </a:cubicBezTo>
                    <a:lnTo>
                      <a:pt x="0" y="0"/>
                    </a:lnTo>
                    <a:close/>
                  </a:path>
                </a:pathLst>
              </a:custGeom>
              <a:solidFill>
                <a:srgbClr val="8CB984"/>
              </a:solidFill>
              <a:ln w="148590" cap="flat">
                <a:noFill/>
                <a:prstDash val="solid"/>
                <a:miter/>
              </a:ln>
            </p:spPr>
            <p:txBody>
              <a:bodyPr rtlCol="0" anchor="ctr"/>
              <a:lstStyle/>
              <a:p>
                <a:endParaRPr lang="en-AE"/>
              </a:p>
            </p:txBody>
          </p:sp>
        </p:grpSp>
        <p:sp>
          <p:nvSpPr>
            <p:cNvPr id="46" name="Freeform 45">
              <a:extLst>
                <a:ext uri="{FF2B5EF4-FFF2-40B4-BE49-F238E27FC236}">
                  <a16:creationId xmlns:a16="http://schemas.microsoft.com/office/drawing/2014/main" id="{3CFCD5D5-8BE4-D1EC-044C-AE670FE38FB5}"/>
                </a:ext>
              </a:extLst>
            </p:cNvPr>
            <p:cNvSpPr/>
            <p:nvPr/>
          </p:nvSpPr>
          <p:spPr>
            <a:xfrm>
              <a:off x="16444010" y="636153"/>
              <a:ext cx="1786051" cy="1761585"/>
            </a:xfrm>
            <a:custGeom>
              <a:avLst/>
              <a:gdLst>
                <a:gd name="connsiteX0" fmla="*/ 1784566 w 1786051"/>
                <a:gd name="connsiteY0" fmla="*/ 882258 h 1761585"/>
                <a:gd name="connsiteX1" fmla="*/ 1690954 w 1786051"/>
                <a:gd name="connsiteY1" fmla="*/ 791394 h 1761585"/>
                <a:gd name="connsiteX2" fmla="*/ 1356627 w 1786051"/>
                <a:gd name="connsiteY2" fmla="*/ 791394 h 1761585"/>
                <a:gd name="connsiteX3" fmla="*/ 1665694 w 1786051"/>
                <a:gd name="connsiteY3" fmla="*/ 665358 h 1761585"/>
                <a:gd name="connsiteX4" fmla="*/ 1716215 w 1786051"/>
                <a:gd name="connsiteY4" fmla="*/ 545183 h 1761585"/>
                <a:gd name="connsiteX5" fmla="*/ 1630032 w 1786051"/>
                <a:gd name="connsiteY5" fmla="*/ 489492 h 1761585"/>
                <a:gd name="connsiteX6" fmla="*/ 1594371 w 1786051"/>
                <a:gd name="connsiteY6" fmla="*/ 496820 h 1761585"/>
                <a:gd name="connsiteX7" fmla="*/ 1285304 w 1786051"/>
                <a:gd name="connsiteY7" fmla="*/ 622857 h 1761585"/>
                <a:gd name="connsiteX8" fmla="*/ 1521562 w 1786051"/>
                <a:gd name="connsiteY8" fmla="*/ 389835 h 1761585"/>
                <a:gd name="connsiteX9" fmla="*/ 1548308 w 1786051"/>
                <a:gd name="connsiteY9" fmla="*/ 325351 h 1761585"/>
                <a:gd name="connsiteX10" fmla="*/ 1521562 w 1786051"/>
                <a:gd name="connsiteY10" fmla="*/ 260867 h 1761585"/>
                <a:gd name="connsiteX11" fmla="*/ 1390802 w 1786051"/>
                <a:gd name="connsiteY11" fmla="*/ 260867 h 1761585"/>
                <a:gd name="connsiteX12" fmla="*/ 1154544 w 1786051"/>
                <a:gd name="connsiteY12" fmla="*/ 493889 h 1761585"/>
                <a:gd name="connsiteX13" fmla="*/ 1282332 w 1786051"/>
                <a:gd name="connsiteY13" fmla="*/ 189055 h 1761585"/>
                <a:gd name="connsiteX14" fmla="*/ 1289761 w 1786051"/>
                <a:gd name="connsiteY14" fmla="*/ 153882 h 1761585"/>
                <a:gd name="connsiteX15" fmla="*/ 1233297 w 1786051"/>
                <a:gd name="connsiteY15" fmla="*/ 68881 h 1761585"/>
                <a:gd name="connsiteX16" fmla="*/ 1111453 w 1786051"/>
                <a:gd name="connsiteY16" fmla="*/ 118709 h 1761585"/>
                <a:gd name="connsiteX17" fmla="*/ 983666 w 1786051"/>
                <a:gd name="connsiteY17" fmla="*/ 423543 h 1761585"/>
                <a:gd name="connsiteX18" fmla="*/ 983666 w 1786051"/>
                <a:gd name="connsiteY18" fmla="*/ 90864 h 1761585"/>
                <a:gd name="connsiteX19" fmla="*/ 891540 w 1786051"/>
                <a:gd name="connsiteY19" fmla="*/ 0 h 1761585"/>
                <a:gd name="connsiteX20" fmla="*/ 799414 w 1786051"/>
                <a:gd name="connsiteY20" fmla="*/ 90864 h 1761585"/>
                <a:gd name="connsiteX21" fmla="*/ 799414 w 1786051"/>
                <a:gd name="connsiteY21" fmla="*/ 420611 h 1761585"/>
                <a:gd name="connsiteX22" fmla="*/ 671627 w 1786051"/>
                <a:gd name="connsiteY22" fmla="*/ 115778 h 1761585"/>
                <a:gd name="connsiteX23" fmla="*/ 549783 w 1786051"/>
                <a:gd name="connsiteY23" fmla="*/ 65950 h 1761585"/>
                <a:gd name="connsiteX24" fmla="*/ 491833 w 1786051"/>
                <a:gd name="connsiteY24" fmla="*/ 150951 h 1761585"/>
                <a:gd name="connsiteX25" fmla="*/ 499262 w 1786051"/>
                <a:gd name="connsiteY25" fmla="*/ 186124 h 1761585"/>
                <a:gd name="connsiteX26" fmla="*/ 627050 w 1786051"/>
                <a:gd name="connsiteY26" fmla="*/ 490958 h 1761585"/>
                <a:gd name="connsiteX27" fmla="*/ 390792 w 1786051"/>
                <a:gd name="connsiteY27" fmla="*/ 257936 h 1761585"/>
                <a:gd name="connsiteX28" fmla="*/ 325412 w 1786051"/>
                <a:gd name="connsiteY28" fmla="*/ 231556 h 1761585"/>
                <a:gd name="connsiteX29" fmla="*/ 260033 w 1786051"/>
                <a:gd name="connsiteY29" fmla="*/ 257936 h 1761585"/>
                <a:gd name="connsiteX30" fmla="*/ 260033 w 1786051"/>
                <a:gd name="connsiteY30" fmla="*/ 388370 h 1761585"/>
                <a:gd name="connsiteX31" fmla="*/ 496291 w 1786051"/>
                <a:gd name="connsiteY31" fmla="*/ 621391 h 1761585"/>
                <a:gd name="connsiteX32" fmla="*/ 188709 w 1786051"/>
                <a:gd name="connsiteY32" fmla="*/ 495354 h 1761585"/>
                <a:gd name="connsiteX33" fmla="*/ 153048 w 1786051"/>
                <a:gd name="connsiteY33" fmla="*/ 488027 h 1761585"/>
                <a:gd name="connsiteX34" fmla="*/ 66866 w 1786051"/>
                <a:gd name="connsiteY34" fmla="*/ 543717 h 1761585"/>
                <a:gd name="connsiteX35" fmla="*/ 117386 w 1786051"/>
                <a:gd name="connsiteY35" fmla="*/ 663892 h 1761585"/>
                <a:gd name="connsiteX36" fmla="*/ 426453 w 1786051"/>
                <a:gd name="connsiteY36" fmla="*/ 789929 h 1761585"/>
                <a:gd name="connsiteX37" fmla="*/ 92126 w 1786051"/>
                <a:gd name="connsiteY37" fmla="*/ 789929 h 1761585"/>
                <a:gd name="connsiteX38" fmla="*/ 0 w 1786051"/>
                <a:gd name="connsiteY38" fmla="*/ 880793 h 1761585"/>
                <a:gd name="connsiteX39" fmla="*/ 92126 w 1786051"/>
                <a:gd name="connsiteY39" fmla="*/ 971657 h 1761585"/>
                <a:gd name="connsiteX40" fmla="*/ 426453 w 1786051"/>
                <a:gd name="connsiteY40" fmla="*/ 971657 h 1761585"/>
                <a:gd name="connsiteX41" fmla="*/ 117386 w 1786051"/>
                <a:gd name="connsiteY41" fmla="*/ 1097693 h 1761585"/>
                <a:gd name="connsiteX42" fmla="*/ 66866 w 1786051"/>
                <a:gd name="connsiteY42" fmla="*/ 1217868 h 1761585"/>
                <a:gd name="connsiteX43" fmla="*/ 188709 w 1786051"/>
                <a:gd name="connsiteY43" fmla="*/ 1267697 h 1761585"/>
                <a:gd name="connsiteX44" fmla="*/ 496291 w 1786051"/>
                <a:gd name="connsiteY44" fmla="*/ 1141660 h 1761585"/>
                <a:gd name="connsiteX45" fmla="*/ 260033 w 1786051"/>
                <a:gd name="connsiteY45" fmla="*/ 1374681 h 1761585"/>
                <a:gd name="connsiteX46" fmla="*/ 260033 w 1786051"/>
                <a:gd name="connsiteY46" fmla="*/ 1505115 h 1761585"/>
                <a:gd name="connsiteX47" fmla="*/ 390792 w 1786051"/>
                <a:gd name="connsiteY47" fmla="*/ 1505115 h 1761585"/>
                <a:gd name="connsiteX48" fmla="*/ 627050 w 1786051"/>
                <a:gd name="connsiteY48" fmla="*/ 1272093 h 1761585"/>
                <a:gd name="connsiteX49" fmla="*/ 499262 w 1786051"/>
                <a:gd name="connsiteY49" fmla="*/ 1575461 h 1761585"/>
                <a:gd name="connsiteX50" fmla="*/ 549783 w 1786051"/>
                <a:gd name="connsiteY50" fmla="*/ 1695636 h 1761585"/>
                <a:gd name="connsiteX51" fmla="*/ 671627 w 1786051"/>
                <a:gd name="connsiteY51" fmla="*/ 1645807 h 1761585"/>
                <a:gd name="connsiteX52" fmla="*/ 799414 w 1786051"/>
                <a:gd name="connsiteY52" fmla="*/ 1340974 h 1761585"/>
                <a:gd name="connsiteX53" fmla="*/ 799414 w 1786051"/>
                <a:gd name="connsiteY53" fmla="*/ 1670722 h 1761585"/>
                <a:gd name="connsiteX54" fmla="*/ 891540 w 1786051"/>
                <a:gd name="connsiteY54" fmla="*/ 1761585 h 1761585"/>
                <a:gd name="connsiteX55" fmla="*/ 983666 w 1786051"/>
                <a:gd name="connsiteY55" fmla="*/ 1670722 h 1761585"/>
                <a:gd name="connsiteX56" fmla="*/ 983666 w 1786051"/>
                <a:gd name="connsiteY56" fmla="*/ 1340974 h 1761585"/>
                <a:gd name="connsiteX57" fmla="*/ 1111453 w 1786051"/>
                <a:gd name="connsiteY57" fmla="*/ 1645807 h 1761585"/>
                <a:gd name="connsiteX58" fmla="*/ 1233297 w 1786051"/>
                <a:gd name="connsiteY58" fmla="*/ 1695636 h 1761585"/>
                <a:gd name="connsiteX59" fmla="*/ 1283818 w 1786051"/>
                <a:gd name="connsiteY59" fmla="*/ 1575461 h 1761585"/>
                <a:gd name="connsiteX60" fmla="*/ 1156030 w 1786051"/>
                <a:gd name="connsiteY60" fmla="*/ 1272093 h 1761585"/>
                <a:gd name="connsiteX61" fmla="*/ 1392288 w 1786051"/>
                <a:gd name="connsiteY61" fmla="*/ 1505115 h 1761585"/>
                <a:gd name="connsiteX62" fmla="*/ 1523048 w 1786051"/>
                <a:gd name="connsiteY62" fmla="*/ 1505115 h 1761585"/>
                <a:gd name="connsiteX63" fmla="*/ 1523048 w 1786051"/>
                <a:gd name="connsiteY63" fmla="*/ 1374681 h 1761585"/>
                <a:gd name="connsiteX64" fmla="*/ 1286789 w 1786051"/>
                <a:gd name="connsiteY64" fmla="*/ 1141660 h 1761585"/>
                <a:gd name="connsiteX65" fmla="*/ 1595857 w 1786051"/>
                <a:gd name="connsiteY65" fmla="*/ 1267697 h 1761585"/>
                <a:gd name="connsiteX66" fmla="*/ 1717701 w 1786051"/>
                <a:gd name="connsiteY66" fmla="*/ 1217868 h 1761585"/>
                <a:gd name="connsiteX67" fmla="*/ 1667180 w 1786051"/>
                <a:gd name="connsiteY67" fmla="*/ 1097693 h 1761585"/>
                <a:gd name="connsiteX68" fmla="*/ 1358113 w 1786051"/>
                <a:gd name="connsiteY68" fmla="*/ 971657 h 1761585"/>
                <a:gd name="connsiteX69" fmla="*/ 1692440 w 1786051"/>
                <a:gd name="connsiteY69" fmla="*/ 971657 h 1761585"/>
                <a:gd name="connsiteX70" fmla="*/ 1786052 w 1786051"/>
                <a:gd name="connsiteY70" fmla="*/ 880793 h 1761585"/>
                <a:gd name="connsiteX71" fmla="*/ 890054 w 1786051"/>
                <a:gd name="connsiteY71" fmla="*/ 1106487 h 1761585"/>
                <a:gd name="connsiteX72" fmla="*/ 662711 w 1786051"/>
                <a:gd name="connsiteY72" fmla="*/ 882258 h 1761585"/>
                <a:gd name="connsiteX73" fmla="*/ 890054 w 1786051"/>
                <a:gd name="connsiteY73" fmla="*/ 658030 h 1761585"/>
                <a:gd name="connsiteX74" fmla="*/ 1117397 w 1786051"/>
                <a:gd name="connsiteY74" fmla="*/ 882258 h 1761585"/>
                <a:gd name="connsiteX75" fmla="*/ 890054 w 1786051"/>
                <a:gd name="connsiteY75" fmla="*/ 1106487 h 176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786051" h="1761585">
                  <a:moveTo>
                    <a:pt x="1784566" y="882258"/>
                  </a:moveTo>
                  <a:cubicBezTo>
                    <a:pt x="1784566" y="832430"/>
                    <a:pt x="1742961" y="791394"/>
                    <a:pt x="1690954" y="791394"/>
                  </a:cubicBezTo>
                  <a:lnTo>
                    <a:pt x="1356627" y="791394"/>
                  </a:lnTo>
                  <a:lnTo>
                    <a:pt x="1665694" y="665358"/>
                  </a:lnTo>
                  <a:cubicBezTo>
                    <a:pt x="1713243" y="646305"/>
                    <a:pt x="1735531" y="592080"/>
                    <a:pt x="1716215" y="545183"/>
                  </a:cubicBezTo>
                  <a:cubicBezTo>
                    <a:pt x="1701356" y="510010"/>
                    <a:pt x="1667180" y="489492"/>
                    <a:pt x="1630032" y="489492"/>
                  </a:cubicBezTo>
                  <a:cubicBezTo>
                    <a:pt x="1618145" y="489492"/>
                    <a:pt x="1606258" y="492423"/>
                    <a:pt x="1594371" y="496820"/>
                  </a:cubicBezTo>
                  <a:lnTo>
                    <a:pt x="1285304" y="622857"/>
                  </a:lnTo>
                  <a:lnTo>
                    <a:pt x="1521562" y="389835"/>
                  </a:lnTo>
                  <a:cubicBezTo>
                    <a:pt x="1539392" y="372248"/>
                    <a:pt x="1548308" y="348800"/>
                    <a:pt x="1548308" y="325351"/>
                  </a:cubicBezTo>
                  <a:cubicBezTo>
                    <a:pt x="1548308" y="301902"/>
                    <a:pt x="1539392" y="278454"/>
                    <a:pt x="1521562" y="260867"/>
                  </a:cubicBezTo>
                  <a:cubicBezTo>
                    <a:pt x="1485900" y="225694"/>
                    <a:pt x="1426464" y="225694"/>
                    <a:pt x="1390802" y="260867"/>
                  </a:cubicBezTo>
                  <a:lnTo>
                    <a:pt x="1154544" y="493889"/>
                  </a:lnTo>
                  <a:lnTo>
                    <a:pt x="1282332" y="189055"/>
                  </a:lnTo>
                  <a:cubicBezTo>
                    <a:pt x="1286789" y="177331"/>
                    <a:pt x="1289761" y="165607"/>
                    <a:pt x="1289761" y="153882"/>
                  </a:cubicBezTo>
                  <a:cubicBezTo>
                    <a:pt x="1289761" y="118709"/>
                    <a:pt x="1268959" y="83536"/>
                    <a:pt x="1233297" y="68881"/>
                  </a:cubicBezTo>
                  <a:cubicBezTo>
                    <a:pt x="1185748" y="49829"/>
                    <a:pt x="1132256" y="71812"/>
                    <a:pt x="1111453" y="118709"/>
                  </a:cubicBezTo>
                  <a:lnTo>
                    <a:pt x="983666" y="423543"/>
                  </a:lnTo>
                  <a:lnTo>
                    <a:pt x="983666" y="90864"/>
                  </a:lnTo>
                  <a:cubicBezTo>
                    <a:pt x="983666" y="41035"/>
                    <a:pt x="942061" y="0"/>
                    <a:pt x="891540" y="0"/>
                  </a:cubicBezTo>
                  <a:cubicBezTo>
                    <a:pt x="841019" y="0"/>
                    <a:pt x="799414" y="41035"/>
                    <a:pt x="799414" y="90864"/>
                  </a:cubicBezTo>
                  <a:lnTo>
                    <a:pt x="799414" y="420611"/>
                  </a:lnTo>
                  <a:lnTo>
                    <a:pt x="671627" y="115778"/>
                  </a:lnTo>
                  <a:cubicBezTo>
                    <a:pt x="652310" y="68881"/>
                    <a:pt x="597332" y="46897"/>
                    <a:pt x="549783" y="65950"/>
                  </a:cubicBezTo>
                  <a:cubicBezTo>
                    <a:pt x="514121" y="80605"/>
                    <a:pt x="491833" y="114313"/>
                    <a:pt x="491833" y="150951"/>
                  </a:cubicBezTo>
                  <a:cubicBezTo>
                    <a:pt x="491833" y="162676"/>
                    <a:pt x="494805" y="174400"/>
                    <a:pt x="499262" y="186124"/>
                  </a:cubicBezTo>
                  <a:lnTo>
                    <a:pt x="627050" y="490958"/>
                  </a:lnTo>
                  <a:lnTo>
                    <a:pt x="390792" y="257936"/>
                  </a:lnTo>
                  <a:cubicBezTo>
                    <a:pt x="372961" y="240349"/>
                    <a:pt x="349187" y="231556"/>
                    <a:pt x="325412" y="231556"/>
                  </a:cubicBezTo>
                  <a:cubicBezTo>
                    <a:pt x="301638" y="231556"/>
                    <a:pt x="277863" y="240349"/>
                    <a:pt x="260033" y="257936"/>
                  </a:cubicBezTo>
                  <a:cubicBezTo>
                    <a:pt x="224371" y="293109"/>
                    <a:pt x="224371" y="351731"/>
                    <a:pt x="260033" y="388370"/>
                  </a:cubicBezTo>
                  <a:lnTo>
                    <a:pt x="496291" y="621391"/>
                  </a:lnTo>
                  <a:lnTo>
                    <a:pt x="188709" y="495354"/>
                  </a:lnTo>
                  <a:cubicBezTo>
                    <a:pt x="176822" y="490958"/>
                    <a:pt x="164935" y="488027"/>
                    <a:pt x="153048" y="488027"/>
                  </a:cubicBezTo>
                  <a:cubicBezTo>
                    <a:pt x="117386" y="488027"/>
                    <a:pt x="81725" y="508544"/>
                    <a:pt x="66866" y="543717"/>
                  </a:cubicBezTo>
                  <a:cubicBezTo>
                    <a:pt x="47549" y="590615"/>
                    <a:pt x="69837" y="643374"/>
                    <a:pt x="117386" y="663892"/>
                  </a:cubicBezTo>
                  <a:lnTo>
                    <a:pt x="426453" y="789929"/>
                  </a:lnTo>
                  <a:lnTo>
                    <a:pt x="92126" y="789929"/>
                  </a:lnTo>
                  <a:cubicBezTo>
                    <a:pt x="41605" y="789929"/>
                    <a:pt x="0" y="830964"/>
                    <a:pt x="0" y="880793"/>
                  </a:cubicBezTo>
                  <a:cubicBezTo>
                    <a:pt x="0" y="930621"/>
                    <a:pt x="41605" y="971657"/>
                    <a:pt x="92126" y="971657"/>
                  </a:cubicBezTo>
                  <a:lnTo>
                    <a:pt x="426453" y="971657"/>
                  </a:lnTo>
                  <a:lnTo>
                    <a:pt x="117386" y="1097693"/>
                  </a:lnTo>
                  <a:cubicBezTo>
                    <a:pt x="69837" y="1116745"/>
                    <a:pt x="47549" y="1170971"/>
                    <a:pt x="66866" y="1217868"/>
                  </a:cubicBezTo>
                  <a:cubicBezTo>
                    <a:pt x="86182" y="1264766"/>
                    <a:pt x="141160" y="1286749"/>
                    <a:pt x="188709" y="1267697"/>
                  </a:cubicBezTo>
                  <a:lnTo>
                    <a:pt x="496291" y="1141660"/>
                  </a:lnTo>
                  <a:lnTo>
                    <a:pt x="260033" y="1374681"/>
                  </a:lnTo>
                  <a:cubicBezTo>
                    <a:pt x="224371" y="1409855"/>
                    <a:pt x="224371" y="1468476"/>
                    <a:pt x="260033" y="1505115"/>
                  </a:cubicBezTo>
                  <a:cubicBezTo>
                    <a:pt x="295694" y="1541754"/>
                    <a:pt x="355130" y="1540288"/>
                    <a:pt x="390792" y="1505115"/>
                  </a:cubicBezTo>
                  <a:lnTo>
                    <a:pt x="627050" y="1272093"/>
                  </a:lnTo>
                  <a:lnTo>
                    <a:pt x="499262" y="1575461"/>
                  </a:lnTo>
                  <a:cubicBezTo>
                    <a:pt x="479946" y="1622359"/>
                    <a:pt x="502234" y="1675118"/>
                    <a:pt x="549783" y="1695636"/>
                  </a:cubicBezTo>
                  <a:cubicBezTo>
                    <a:pt x="597332" y="1714688"/>
                    <a:pt x="650824" y="1692705"/>
                    <a:pt x="671627" y="1645807"/>
                  </a:cubicBezTo>
                  <a:lnTo>
                    <a:pt x="799414" y="1340974"/>
                  </a:lnTo>
                  <a:lnTo>
                    <a:pt x="799414" y="1670722"/>
                  </a:lnTo>
                  <a:cubicBezTo>
                    <a:pt x="799414" y="1720550"/>
                    <a:pt x="841019" y="1761585"/>
                    <a:pt x="891540" y="1761585"/>
                  </a:cubicBezTo>
                  <a:cubicBezTo>
                    <a:pt x="942061" y="1761585"/>
                    <a:pt x="983666" y="1720550"/>
                    <a:pt x="983666" y="1670722"/>
                  </a:cubicBezTo>
                  <a:lnTo>
                    <a:pt x="983666" y="1340974"/>
                  </a:lnTo>
                  <a:lnTo>
                    <a:pt x="1111453" y="1645807"/>
                  </a:lnTo>
                  <a:cubicBezTo>
                    <a:pt x="1130770" y="1692705"/>
                    <a:pt x="1185748" y="1714688"/>
                    <a:pt x="1233297" y="1695636"/>
                  </a:cubicBezTo>
                  <a:cubicBezTo>
                    <a:pt x="1280846" y="1675118"/>
                    <a:pt x="1303134" y="1622359"/>
                    <a:pt x="1283818" y="1575461"/>
                  </a:cubicBezTo>
                  <a:lnTo>
                    <a:pt x="1156030" y="1272093"/>
                  </a:lnTo>
                  <a:lnTo>
                    <a:pt x="1392288" y="1505115"/>
                  </a:lnTo>
                  <a:cubicBezTo>
                    <a:pt x="1427950" y="1540288"/>
                    <a:pt x="1487386" y="1540288"/>
                    <a:pt x="1523048" y="1505115"/>
                  </a:cubicBezTo>
                  <a:cubicBezTo>
                    <a:pt x="1558709" y="1469942"/>
                    <a:pt x="1558709" y="1411320"/>
                    <a:pt x="1523048" y="1374681"/>
                  </a:cubicBezTo>
                  <a:lnTo>
                    <a:pt x="1286789" y="1141660"/>
                  </a:lnTo>
                  <a:lnTo>
                    <a:pt x="1595857" y="1267697"/>
                  </a:lnTo>
                  <a:cubicBezTo>
                    <a:pt x="1643406" y="1286749"/>
                    <a:pt x="1696898" y="1264766"/>
                    <a:pt x="1717701" y="1217868"/>
                  </a:cubicBezTo>
                  <a:cubicBezTo>
                    <a:pt x="1737017" y="1170971"/>
                    <a:pt x="1714729" y="1118211"/>
                    <a:pt x="1667180" y="1097693"/>
                  </a:cubicBezTo>
                  <a:lnTo>
                    <a:pt x="1358113" y="971657"/>
                  </a:lnTo>
                  <a:lnTo>
                    <a:pt x="1692440" y="971657"/>
                  </a:lnTo>
                  <a:cubicBezTo>
                    <a:pt x="1744447" y="971657"/>
                    <a:pt x="1786052" y="930621"/>
                    <a:pt x="1786052" y="880793"/>
                  </a:cubicBezTo>
                  <a:close/>
                  <a:moveTo>
                    <a:pt x="890054" y="1106487"/>
                  </a:moveTo>
                  <a:cubicBezTo>
                    <a:pt x="763753" y="1106487"/>
                    <a:pt x="662711" y="1005364"/>
                    <a:pt x="662711" y="882258"/>
                  </a:cubicBezTo>
                  <a:cubicBezTo>
                    <a:pt x="662711" y="759152"/>
                    <a:pt x="765239" y="658030"/>
                    <a:pt x="890054" y="658030"/>
                  </a:cubicBezTo>
                  <a:cubicBezTo>
                    <a:pt x="1014870" y="658030"/>
                    <a:pt x="1117397" y="759152"/>
                    <a:pt x="1117397" y="882258"/>
                  </a:cubicBezTo>
                  <a:cubicBezTo>
                    <a:pt x="1117397" y="1005364"/>
                    <a:pt x="1014870" y="1106487"/>
                    <a:pt x="890054" y="1106487"/>
                  </a:cubicBezTo>
                  <a:close/>
                </a:path>
              </a:pathLst>
            </a:custGeom>
            <a:solidFill>
              <a:schemeClr val="accent4"/>
            </a:solidFill>
            <a:ln w="148590" cap="flat">
              <a:noFill/>
              <a:prstDash val="solid"/>
              <a:miter/>
            </a:ln>
          </p:spPr>
          <p:txBody>
            <a:bodyPr rtlCol="0" anchor="ctr"/>
            <a:lstStyle/>
            <a:p>
              <a:pPr algn="l" rtl="0"/>
              <a:endParaRPr lang="en-AE"/>
            </a:p>
          </p:txBody>
        </p:sp>
      </p:grpSp>
      <p:grpSp>
        <p:nvGrpSpPr>
          <p:cNvPr id="49" name="Graphic 5">
            <a:extLst>
              <a:ext uri="{FF2B5EF4-FFF2-40B4-BE49-F238E27FC236}">
                <a16:creationId xmlns:a16="http://schemas.microsoft.com/office/drawing/2014/main" id="{C48CFBCE-D235-CD27-FD72-2901728D4918}"/>
              </a:ext>
            </a:extLst>
          </p:cNvPr>
          <p:cNvGrpSpPr/>
          <p:nvPr/>
        </p:nvGrpSpPr>
        <p:grpSpPr>
          <a:xfrm flipH="1">
            <a:off x="11417511" y="9456898"/>
            <a:ext cx="1059352" cy="1800461"/>
            <a:chOff x="16444010" y="636153"/>
            <a:chExt cx="1786051" cy="3035546"/>
          </a:xfrm>
        </p:grpSpPr>
        <p:sp>
          <p:nvSpPr>
            <p:cNvPr id="50" name="Freeform 49">
              <a:extLst>
                <a:ext uri="{FF2B5EF4-FFF2-40B4-BE49-F238E27FC236}">
                  <a16:creationId xmlns:a16="http://schemas.microsoft.com/office/drawing/2014/main" id="{D0A1A664-5790-AE5F-4FA7-B5D225095E6F}"/>
                </a:ext>
              </a:extLst>
            </p:cNvPr>
            <p:cNvSpPr/>
            <p:nvPr/>
          </p:nvSpPr>
          <p:spPr>
            <a:xfrm>
              <a:off x="17334064" y="1877469"/>
              <a:ext cx="148590" cy="1779171"/>
            </a:xfrm>
            <a:custGeom>
              <a:avLst/>
              <a:gdLst>
                <a:gd name="connsiteX0" fmla="*/ 0 w 148590"/>
                <a:gd name="connsiteY0" fmla="*/ 0 h 1779171"/>
                <a:gd name="connsiteX1" fmla="*/ 0 w 148590"/>
                <a:gd name="connsiteY1" fmla="*/ 1779172 h 1779171"/>
              </a:gdLst>
              <a:ahLst/>
              <a:cxnLst>
                <a:cxn ang="0">
                  <a:pos x="connsiteX0" y="connsiteY0"/>
                </a:cxn>
                <a:cxn ang="0">
                  <a:pos x="connsiteX1" y="connsiteY1"/>
                </a:cxn>
              </a:cxnLst>
              <a:rect l="l" t="t" r="r" b="b"/>
              <a:pathLst>
                <a:path w="148590" h="1779171">
                  <a:moveTo>
                    <a:pt x="0" y="0"/>
                  </a:moveTo>
                  <a:lnTo>
                    <a:pt x="0" y="1779172"/>
                  </a:lnTo>
                </a:path>
              </a:pathLst>
            </a:custGeom>
            <a:ln w="111443" cap="rnd">
              <a:solidFill>
                <a:srgbClr val="44352E"/>
              </a:solidFill>
              <a:prstDash val="solid"/>
              <a:miter/>
            </a:ln>
          </p:spPr>
          <p:txBody>
            <a:bodyPr rtlCol="0" anchor="ctr"/>
            <a:lstStyle/>
            <a:p>
              <a:endParaRPr lang="en-AE"/>
            </a:p>
          </p:txBody>
        </p:sp>
        <p:grpSp>
          <p:nvGrpSpPr>
            <p:cNvPr id="51" name="Graphic 5">
              <a:extLst>
                <a:ext uri="{FF2B5EF4-FFF2-40B4-BE49-F238E27FC236}">
                  <a16:creationId xmlns:a16="http://schemas.microsoft.com/office/drawing/2014/main" id="{8FE2B558-51A6-3C0C-D85D-DA2FF44E4510}"/>
                </a:ext>
              </a:extLst>
            </p:cNvPr>
            <p:cNvGrpSpPr/>
            <p:nvPr/>
          </p:nvGrpSpPr>
          <p:grpSpPr>
            <a:xfrm>
              <a:off x="16464708" y="2360041"/>
              <a:ext cx="1746193" cy="1311658"/>
              <a:chOff x="16464708" y="2360041"/>
              <a:chExt cx="1746193" cy="1311658"/>
            </a:xfrm>
            <a:solidFill>
              <a:srgbClr val="8CB984"/>
            </a:solidFill>
          </p:grpSpPr>
          <p:sp>
            <p:nvSpPr>
              <p:cNvPr id="53" name="Freeform 52">
                <a:extLst>
                  <a:ext uri="{FF2B5EF4-FFF2-40B4-BE49-F238E27FC236}">
                    <a16:creationId xmlns:a16="http://schemas.microsoft.com/office/drawing/2014/main" id="{3AE60CD8-8DE2-708B-BC50-D56A6B9B3DD1}"/>
                  </a:ext>
                </a:extLst>
              </p:cNvPr>
              <p:cNvSpPr/>
              <p:nvPr/>
            </p:nvSpPr>
            <p:spPr>
              <a:xfrm rot="4791600">
                <a:off x="16524901" y="2419410"/>
                <a:ext cx="750379" cy="740100"/>
              </a:xfrm>
              <a:custGeom>
                <a:avLst/>
                <a:gdLst>
                  <a:gd name="connsiteX0" fmla="*/ 750380 w 750379"/>
                  <a:gd name="connsiteY0" fmla="*/ 0 h 740100"/>
                  <a:gd name="connsiteX1" fmla="*/ 750380 w 750379"/>
                  <a:gd name="connsiteY1" fmla="*/ 0 h 740100"/>
                  <a:gd name="connsiteX2" fmla="*/ 0 w 750379"/>
                  <a:gd name="connsiteY2" fmla="*/ 740101 h 740100"/>
                  <a:gd name="connsiteX3" fmla="*/ 0 w 750379"/>
                  <a:gd name="connsiteY3" fmla="*/ 740101 h 740100"/>
                  <a:gd name="connsiteX4" fmla="*/ 750380 w 750379"/>
                  <a:gd name="connsiteY4" fmla="*/ 0 h 74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379" h="740100">
                    <a:moveTo>
                      <a:pt x="750380" y="0"/>
                    </a:moveTo>
                    <a:lnTo>
                      <a:pt x="750380" y="0"/>
                    </a:lnTo>
                    <a:cubicBezTo>
                      <a:pt x="750380" y="408887"/>
                      <a:pt x="414566" y="740101"/>
                      <a:pt x="0" y="740101"/>
                    </a:cubicBezTo>
                    <a:lnTo>
                      <a:pt x="0" y="740101"/>
                    </a:lnTo>
                    <a:cubicBezTo>
                      <a:pt x="0" y="331213"/>
                      <a:pt x="335814" y="0"/>
                      <a:pt x="750380" y="0"/>
                    </a:cubicBezTo>
                    <a:close/>
                  </a:path>
                </a:pathLst>
              </a:custGeom>
              <a:solidFill>
                <a:srgbClr val="8CB984"/>
              </a:solidFill>
              <a:ln w="148590" cap="flat">
                <a:noFill/>
                <a:prstDash val="solid"/>
                <a:miter/>
              </a:ln>
            </p:spPr>
            <p:txBody>
              <a:bodyPr rtlCol="0" anchor="ctr"/>
              <a:lstStyle/>
              <a:p>
                <a:endParaRPr lang="en-AE"/>
              </a:p>
            </p:txBody>
          </p:sp>
          <p:sp>
            <p:nvSpPr>
              <p:cNvPr id="54" name="Freeform 53">
                <a:extLst>
                  <a:ext uri="{FF2B5EF4-FFF2-40B4-BE49-F238E27FC236}">
                    <a16:creationId xmlns:a16="http://schemas.microsoft.com/office/drawing/2014/main" id="{AFB3A95B-770B-54CE-E929-5CFF70E601B0}"/>
                  </a:ext>
                </a:extLst>
              </p:cNvPr>
              <p:cNvSpPr/>
              <p:nvPr/>
            </p:nvSpPr>
            <p:spPr>
              <a:xfrm rot="6008400">
                <a:off x="17400329" y="2872230"/>
                <a:ext cx="750379" cy="740100"/>
              </a:xfrm>
              <a:custGeom>
                <a:avLst/>
                <a:gdLst>
                  <a:gd name="connsiteX0" fmla="*/ 0 w 750379"/>
                  <a:gd name="connsiteY0" fmla="*/ 0 h 740100"/>
                  <a:gd name="connsiteX1" fmla="*/ 0 w 750379"/>
                  <a:gd name="connsiteY1" fmla="*/ 0 h 740100"/>
                  <a:gd name="connsiteX2" fmla="*/ 750380 w 750379"/>
                  <a:gd name="connsiteY2" fmla="*/ 740101 h 740100"/>
                  <a:gd name="connsiteX3" fmla="*/ 750380 w 750379"/>
                  <a:gd name="connsiteY3" fmla="*/ 740101 h 740100"/>
                  <a:gd name="connsiteX4" fmla="*/ 0 w 750379"/>
                  <a:gd name="connsiteY4" fmla="*/ 0 h 740100"/>
                  <a:gd name="connsiteX5" fmla="*/ 0 w 750379"/>
                  <a:gd name="connsiteY5" fmla="*/ 0 h 74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0379" h="740100">
                    <a:moveTo>
                      <a:pt x="0" y="0"/>
                    </a:moveTo>
                    <a:lnTo>
                      <a:pt x="0" y="0"/>
                    </a:lnTo>
                    <a:cubicBezTo>
                      <a:pt x="414566" y="0"/>
                      <a:pt x="750380" y="331213"/>
                      <a:pt x="750380" y="740101"/>
                    </a:cubicBezTo>
                    <a:lnTo>
                      <a:pt x="750380" y="740101"/>
                    </a:lnTo>
                    <a:cubicBezTo>
                      <a:pt x="335813" y="740101"/>
                      <a:pt x="0" y="408887"/>
                      <a:pt x="0" y="0"/>
                    </a:cubicBezTo>
                    <a:lnTo>
                      <a:pt x="0" y="0"/>
                    </a:lnTo>
                    <a:close/>
                  </a:path>
                </a:pathLst>
              </a:custGeom>
              <a:solidFill>
                <a:srgbClr val="8CB984"/>
              </a:solidFill>
              <a:ln w="148590" cap="flat">
                <a:noFill/>
                <a:prstDash val="solid"/>
                <a:miter/>
              </a:ln>
            </p:spPr>
            <p:txBody>
              <a:bodyPr rtlCol="0" anchor="ctr"/>
              <a:lstStyle/>
              <a:p>
                <a:endParaRPr lang="en-AE"/>
              </a:p>
            </p:txBody>
          </p:sp>
        </p:grpSp>
        <p:sp>
          <p:nvSpPr>
            <p:cNvPr id="52" name="Freeform 51">
              <a:extLst>
                <a:ext uri="{FF2B5EF4-FFF2-40B4-BE49-F238E27FC236}">
                  <a16:creationId xmlns:a16="http://schemas.microsoft.com/office/drawing/2014/main" id="{D9311FDE-688A-ADD2-C702-489B75358256}"/>
                </a:ext>
              </a:extLst>
            </p:cNvPr>
            <p:cNvSpPr/>
            <p:nvPr/>
          </p:nvSpPr>
          <p:spPr>
            <a:xfrm>
              <a:off x="16444010" y="636153"/>
              <a:ext cx="1786051" cy="1761585"/>
            </a:xfrm>
            <a:custGeom>
              <a:avLst/>
              <a:gdLst>
                <a:gd name="connsiteX0" fmla="*/ 1784566 w 1786051"/>
                <a:gd name="connsiteY0" fmla="*/ 882258 h 1761585"/>
                <a:gd name="connsiteX1" fmla="*/ 1690954 w 1786051"/>
                <a:gd name="connsiteY1" fmla="*/ 791394 h 1761585"/>
                <a:gd name="connsiteX2" fmla="*/ 1356627 w 1786051"/>
                <a:gd name="connsiteY2" fmla="*/ 791394 h 1761585"/>
                <a:gd name="connsiteX3" fmla="*/ 1665694 w 1786051"/>
                <a:gd name="connsiteY3" fmla="*/ 665358 h 1761585"/>
                <a:gd name="connsiteX4" fmla="*/ 1716215 w 1786051"/>
                <a:gd name="connsiteY4" fmla="*/ 545183 h 1761585"/>
                <a:gd name="connsiteX5" fmla="*/ 1630032 w 1786051"/>
                <a:gd name="connsiteY5" fmla="*/ 489492 h 1761585"/>
                <a:gd name="connsiteX6" fmla="*/ 1594371 w 1786051"/>
                <a:gd name="connsiteY6" fmla="*/ 496820 h 1761585"/>
                <a:gd name="connsiteX7" fmla="*/ 1285304 w 1786051"/>
                <a:gd name="connsiteY7" fmla="*/ 622857 h 1761585"/>
                <a:gd name="connsiteX8" fmla="*/ 1521562 w 1786051"/>
                <a:gd name="connsiteY8" fmla="*/ 389835 h 1761585"/>
                <a:gd name="connsiteX9" fmla="*/ 1548308 w 1786051"/>
                <a:gd name="connsiteY9" fmla="*/ 325351 h 1761585"/>
                <a:gd name="connsiteX10" fmla="*/ 1521562 w 1786051"/>
                <a:gd name="connsiteY10" fmla="*/ 260867 h 1761585"/>
                <a:gd name="connsiteX11" fmla="*/ 1390802 w 1786051"/>
                <a:gd name="connsiteY11" fmla="*/ 260867 h 1761585"/>
                <a:gd name="connsiteX12" fmla="*/ 1154544 w 1786051"/>
                <a:gd name="connsiteY12" fmla="*/ 493889 h 1761585"/>
                <a:gd name="connsiteX13" fmla="*/ 1282332 w 1786051"/>
                <a:gd name="connsiteY13" fmla="*/ 189055 h 1761585"/>
                <a:gd name="connsiteX14" fmla="*/ 1289761 w 1786051"/>
                <a:gd name="connsiteY14" fmla="*/ 153882 h 1761585"/>
                <a:gd name="connsiteX15" fmla="*/ 1233297 w 1786051"/>
                <a:gd name="connsiteY15" fmla="*/ 68881 h 1761585"/>
                <a:gd name="connsiteX16" fmla="*/ 1111453 w 1786051"/>
                <a:gd name="connsiteY16" fmla="*/ 118709 h 1761585"/>
                <a:gd name="connsiteX17" fmla="*/ 983666 w 1786051"/>
                <a:gd name="connsiteY17" fmla="*/ 423543 h 1761585"/>
                <a:gd name="connsiteX18" fmla="*/ 983666 w 1786051"/>
                <a:gd name="connsiteY18" fmla="*/ 90864 h 1761585"/>
                <a:gd name="connsiteX19" fmla="*/ 891540 w 1786051"/>
                <a:gd name="connsiteY19" fmla="*/ 0 h 1761585"/>
                <a:gd name="connsiteX20" fmla="*/ 799414 w 1786051"/>
                <a:gd name="connsiteY20" fmla="*/ 90864 h 1761585"/>
                <a:gd name="connsiteX21" fmla="*/ 799414 w 1786051"/>
                <a:gd name="connsiteY21" fmla="*/ 420611 h 1761585"/>
                <a:gd name="connsiteX22" fmla="*/ 671627 w 1786051"/>
                <a:gd name="connsiteY22" fmla="*/ 115778 h 1761585"/>
                <a:gd name="connsiteX23" fmla="*/ 549783 w 1786051"/>
                <a:gd name="connsiteY23" fmla="*/ 65950 h 1761585"/>
                <a:gd name="connsiteX24" fmla="*/ 491833 w 1786051"/>
                <a:gd name="connsiteY24" fmla="*/ 150951 h 1761585"/>
                <a:gd name="connsiteX25" fmla="*/ 499262 w 1786051"/>
                <a:gd name="connsiteY25" fmla="*/ 186124 h 1761585"/>
                <a:gd name="connsiteX26" fmla="*/ 627050 w 1786051"/>
                <a:gd name="connsiteY26" fmla="*/ 490958 h 1761585"/>
                <a:gd name="connsiteX27" fmla="*/ 390792 w 1786051"/>
                <a:gd name="connsiteY27" fmla="*/ 257936 h 1761585"/>
                <a:gd name="connsiteX28" fmla="*/ 325412 w 1786051"/>
                <a:gd name="connsiteY28" fmla="*/ 231556 h 1761585"/>
                <a:gd name="connsiteX29" fmla="*/ 260033 w 1786051"/>
                <a:gd name="connsiteY29" fmla="*/ 257936 h 1761585"/>
                <a:gd name="connsiteX30" fmla="*/ 260033 w 1786051"/>
                <a:gd name="connsiteY30" fmla="*/ 388370 h 1761585"/>
                <a:gd name="connsiteX31" fmla="*/ 496291 w 1786051"/>
                <a:gd name="connsiteY31" fmla="*/ 621391 h 1761585"/>
                <a:gd name="connsiteX32" fmla="*/ 188709 w 1786051"/>
                <a:gd name="connsiteY32" fmla="*/ 495354 h 1761585"/>
                <a:gd name="connsiteX33" fmla="*/ 153048 w 1786051"/>
                <a:gd name="connsiteY33" fmla="*/ 488027 h 1761585"/>
                <a:gd name="connsiteX34" fmla="*/ 66866 w 1786051"/>
                <a:gd name="connsiteY34" fmla="*/ 543717 h 1761585"/>
                <a:gd name="connsiteX35" fmla="*/ 117386 w 1786051"/>
                <a:gd name="connsiteY35" fmla="*/ 663892 h 1761585"/>
                <a:gd name="connsiteX36" fmla="*/ 426453 w 1786051"/>
                <a:gd name="connsiteY36" fmla="*/ 789929 h 1761585"/>
                <a:gd name="connsiteX37" fmla="*/ 92126 w 1786051"/>
                <a:gd name="connsiteY37" fmla="*/ 789929 h 1761585"/>
                <a:gd name="connsiteX38" fmla="*/ 0 w 1786051"/>
                <a:gd name="connsiteY38" fmla="*/ 880793 h 1761585"/>
                <a:gd name="connsiteX39" fmla="*/ 92126 w 1786051"/>
                <a:gd name="connsiteY39" fmla="*/ 971657 h 1761585"/>
                <a:gd name="connsiteX40" fmla="*/ 426453 w 1786051"/>
                <a:gd name="connsiteY40" fmla="*/ 971657 h 1761585"/>
                <a:gd name="connsiteX41" fmla="*/ 117386 w 1786051"/>
                <a:gd name="connsiteY41" fmla="*/ 1097693 h 1761585"/>
                <a:gd name="connsiteX42" fmla="*/ 66866 w 1786051"/>
                <a:gd name="connsiteY42" fmla="*/ 1217868 h 1761585"/>
                <a:gd name="connsiteX43" fmla="*/ 188709 w 1786051"/>
                <a:gd name="connsiteY43" fmla="*/ 1267697 h 1761585"/>
                <a:gd name="connsiteX44" fmla="*/ 496291 w 1786051"/>
                <a:gd name="connsiteY44" fmla="*/ 1141660 h 1761585"/>
                <a:gd name="connsiteX45" fmla="*/ 260033 w 1786051"/>
                <a:gd name="connsiteY45" fmla="*/ 1374681 h 1761585"/>
                <a:gd name="connsiteX46" fmla="*/ 260033 w 1786051"/>
                <a:gd name="connsiteY46" fmla="*/ 1505115 h 1761585"/>
                <a:gd name="connsiteX47" fmla="*/ 390792 w 1786051"/>
                <a:gd name="connsiteY47" fmla="*/ 1505115 h 1761585"/>
                <a:gd name="connsiteX48" fmla="*/ 627050 w 1786051"/>
                <a:gd name="connsiteY48" fmla="*/ 1272093 h 1761585"/>
                <a:gd name="connsiteX49" fmla="*/ 499262 w 1786051"/>
                <a:gd name="connsiteY49" fmla="*/ 1575461 h 1761585"/>
                <a:gd name="connsiteX50" fmla="*/ 549783 w 1786051"/>
                <a:gd name="connsiteY50" fmla="*/ 1695636 h 1761585"/>
                <a:gd name="connsiteX51" fmla="*/ 671627 w 1786051"/>
                <a:gd name="connsiteY51" fmla="*/ 1645807 h 1761585"/>
                <a:gd name="connsiteX52" fmla="*/ 799414 w 1786051"/>
                <a:gd name="connsiteY52" fmla="*/ 1340974 h 1761585"/>
                <a:gd name="connsiteX53" fmla="*/ 799414 w 1786051"/>
                <a:gd name="connsiteY53" fmla="*/ 1670722 h 1761585"/>
                <a:gd name="connsiteX54" fmla="*/ 891540 w 1786051"/>
                <a:gd name="connsiteY54" fmla="*/ 1761585 h 1761585"/>
                <a:gd name="connsiteX55" fmla="*/ 983666 w 1786051"/>
                <a:gd name="connsiteY55" fmla="*/ 1670722 h 1761585"/>
                <a:gd name="connsiteX56" fmla="*/ 983666 w 1786051"/>
                <a:gd name="connsiteY56" fmla="*/ 1340974 h 1761585"/>
                <a:gd name="connsiteX57" fmla="*/ 1111453 w 1786051"/>
                <a:gd name="connsiteY57" fmla="*/ 1645807 h 1761585"/>
                <a:gd name="connsiteX58" fmla="*/ 1233297 w 1786051"/>
                <a:gd name="connsiteY58" fmla="*/ 1695636 h 1761585"/>
                <a:gd name="connsiteX59" fmla="*/ 1283818 w 1786051"/>
                <a:gd name="connsiteY59" fmla="*/ 1575461 h 1761585"/>
                <a:gd name="connsiteX60" fmla="*/ 1156030 w 1786051"/>
                <a:gd name="connsiteY60" fmla="*/ 1272093 h 1761585"/>
                <a:gd name="connsiteX61" fmla="*/ 1392288 w 1786051"/>
                <a:gd name="connsiteY61" fmla="*/ 1505115 h 1761585"/>
                <a:gd name="connsiteX62" fmla="*/ 1523048 w 1786051"/>
                <a:gd name="connsiteY62" fmla="*/ 1505115 h 1761585"/>
                <a:gd name="connsiteX63" fmla="*/ 1523048 w 1786051"/>
                <a:gd name="connsiteY63" fmla="*/ 1374681 h 1761585"/>
                <a:gd name="connsiteX64" fmla="*/ 1286789 w 1786051"/>
                <a:gd name="connsiteY64" fmla="*/ 1141660 h 1761585"/>
                <a:gd name="connsiteX65" fmla="*/ 1595857 w 1786051"/>
                <a:gd name="connsiteY65" fmla="*/ 1267697 h 1761585"/>
                <a:gd name="connsiteX66" fmla="*/ 1717701 w 1786051"/>
                <a:gd name="connsiteY66" fmla="*/ 1217868 h 1761585"/>
                <a:gd name="connsiteX67" fmla="*/ 1667180 w 1786051"/>
                <a:gd name="connsiteY67" fmla="*/ 1097693 h 1761585"/>
                <a:gd name="connsiteX68" fmla="*/ 1358113 w 1786051"/>
                <a:gd name="connsiteY68" fmla="*/ 971657 h 1761585"/>
                <a:gd name="connsiteX69" fmla="*/ 1692440 w 1786051"/>
                <a:gd name="connsiteY69" fmla="*/ 971657 h 1761585"/>
                <a:gd name="connsiteX70" fmla="*/ 1786052 w 1786051"/>
                <a:gd name="connsiteY70" fmla="*/ 880793 h 1761585"/>
                <a:gd name="connsiteX71" fmla="*/ 890054 w 1786051"/>
                <a:gd name="connsiteY71" fmla="*/ 1106487 h 1761585"/>
                <a:gd name="connsiteX72" fmla="*/ 662711 w 1786051"/>
                <a:gd name="connsiteY72" fmla="*/ 882258 h 1761585"/>
                <a:gd name="connsiteX73" fmla="*/ 890054 w 1786051"/>
                <a:gd name="connsiteY73" fmla="*/ 658030 h 1761585"/>
                <a:gd name="connsiteX74" fmla="*/ 1117397 w 1786051"/>
                <a:gd name="connsiteY74" fmla="*/ 882258 h 1761585"/>
                <a:gd name="connsiteX75" fmla="*/ 890054 w 1786051"/>
                <a:gd name="connsiteY75" fmla="*/ 1106487 h 176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786051" h="1761585">
                  <a:moveTo>
                    <a:pt x="1784566" y="882258"/>
                  </a:moveTo>
                  <a:cubicBezTo>
                    <a:pt x="1784566" y="832430"/>
                    <a:pt x="1742961" y="791394"/>
                    <a:pt x="1690954" y="791394"/>
                  </a:cubicBezTo>
                  <a:lnTo>
                    <a:pt x="1356627" y="791394"/>
                  </a:lnTo>
                  <a:lnTo>
                    <a:pt x="1665694" y="665358"/>
                  </a:lnTo>
                  <a:cubicBezTo>
                    <a:pt x="1713243" y="646305"/>
                    <a:pt x="1735531" y="592080"/>
                    <a:pt x="1716215" y="545183"/>
                  </a:cubicBezTo>
                  <a:cubicBezTo>
                    <a:pt x="1701356" y="510010"/>
                    <a:pt x="1667180" y="489492"/>
                    <a:pt x="1630032" y="489492"/>
                  </a:cubicBezTo>
                  <a:cubicBezTo>
                    <a:pt x="1618145" y="489492"/>
                    <a:pt x="1606258" y="492423"/>
                    <a:pt x="1594371" y="496820"/>
                  </a:cubicBezTo>
                  <a:lnTo>
                    <a:pt x="1285304" y="622857"/>
                  </a:lnTo>
                  <a:lnTo>
                    <a:pt x="1521562" y="389835"/>
                  </a:lnTo>
                  <a:cubicBezTo>
                    <a:pt x="1539392" y="372248"/>
                    <a:pt x="1548308" y="348800"/>
                    <a:pt x="1548308" y="325351"/>
                  </a:cubicBezTo>
                  <a:cubicBezTo>
                    <a:pt x="1548308" y="301902"/>
                    <a:pt x="1539392" y="278454"/>
                    <a:pt x="1521562" y="260867"/>
                  </a:cubicBezTo>
                  <a:cubicBezTo>
                    <a:pt x="1485900" y="225694"/>
                    <a:pt x="1426464" y="225694"/>
                    <a:pt x="1390802" y="260867"/>
                  </a:cubicBezTo>
                  <a:lnTo>
                    <a:pt x="1154544" y="493889"/>
                  </a:lnTo>
                  <a:lnTo>
                    <a:pt x="1282332" y="189055"/>
                  </a:lnTo>
                  <a:cubicBezTo>
                    <a:pt x="1286789" y="177331"/>
                    <a:pt x="1289761" y="165607"/>
                    <a:pt x="1289761" y="153882"/>
                  </a:cubicBezTo>
                  <a:cubicBezTo>
                    <a:pt x="1289761" y="118709"/>
                    <a:pt x="1268959" y="83536"/>
                    <a:pt x="1233297" y="68881"/>
                  </a:cubicBezTo>
                  <a:cubicBezTo>
                    <a:pt x="1185748" y="49829"/>
                    <a:pt x="1132256" y="71812"/>
                    <a:pt x="1111453" y="118709"/>
                  </a:cubicBezTo>
                  <a:lnTo>
                    <a:pt x="983666" y="423543"/>
                  </a:lnTo>
                  <a:lnTo>
                    <a:pt x="983666" y="90864"/>
                  </a:lnTo>
                  <a:cubicBezTo>
                    <a:pt x="983666" y="41035"/>
                    <a:pt x="942061" y="0"/>
                    <a:pt x="891540" y="0"/>
                  </a:cubicBezTo>
                  <a:cubicBezTo>
                    <a:pt x="841019" y="0"/>
                    <a:pt x="799414" y="41035"/>
                    <a:pt x="799414" y="90864"/>
                  </a:cubicBezTo>
                  <a:lnTo>
                    <a:pt x="799414" y="420611"/>
                  </a:lnTo>
                  <a:lnTo>
                    <a:pt x="671627" y="115778"/>
                  </a:lnTo>
                  <a:cubicBezTo>
                    <a:pt x="652310" y="68881"/>
                    <a:pt x="597332" y="46897"/>
                    <a:pt x="549783" y="65950"/>
                  </a:cubicBezTo>
                  <a:cubicBezTo>
                    <a:pt x="514121" y="80605"/>
                    <a:pt x="491833" y="114313"/>
                    <a:pt x="491833" y="150951"/>
                  </a:cubicBezTo>
                  <a:cubicBezTo>
                    <a:pt x="491833" y="162676"/>
                    <a:pt x="494805" y="174400"/>
                    <a:pt x="499262" y="186124"/>
                  </a:cubicBezTo>
                  <a:lnTo>
                    <a:pt x="627050" y="490958"/>
                  </a:lnTo>
                  <a:lnTo>
                    <a:pt x="390792" y="257936"/>
                  </a:lnTo>
                  <a:cubicBezTo>
                    <a:pt x="372961" y="240349"/>
                    <a:pt x="349187" y="231556"/>
                    <a:pt x="325412" y="231556"/>
                  </a:cubicBezTo>
                  <a:cubicBezTo>
                    <a:pt x="301638" y="231556"/>
                    <a:pt x="277863" y="240349"/>
                    <a:pt x="260033" y="257936"/>
                  </a:cubicBezTo>
                  <a:cubicBezTo>
                    <a:pt x="224371" y="293109"/>
                    <a:pt x="224371" y="351731"/>
                    <a:pt x="260033" y="388370"/>
                  </a:cubicBezTo>
                  <a:lnTo>
                    <a:pt x="496291" y="621391"/>
                  </a:lnTo>
                  <a:lnTo>
                    <a:pt x="188709" y="495354"/>
                  </a:lnTo>
                  <a:cubicBezTo>
                    <a:pt x="176822" y="490958"/>
                    <a:pt x="164935" y="488027"/>
                    <a:pt x="153048" y="488027"/>
                  </a:cubicBezTo>
                  <a:cubicBezTo>
                    <a:pt x="117386" y="488027"/>
                    <a:pt x="81725" y="508544"/>
                    <a:pt x="66866" y="543717"/>
                  </a:cubicBezTo>
                  <a:cubicBezTo>
                    <a:pt x="47549" y="590615"/>
                    <a:pt x="69837" y="643374"/>
                    <a:pt x="117386" y="663892"/>
                  </a:cubicBezTo>
                  <a:lnTo>
                    <a:pt x="426453" y="789929"/>
                  </a:lnTo>
                  <a:lnTo>
                    <a:pt x="92126" y="789929"/>
                  </a:lnTo>
                  <a:cubicBezTo>
                    <a:pt x="41605" y="789929"/>
                    <a:pt x="0" y="830964"/>
                    <a:pt x="0" y="880793"/>
                  </a:cubicBezTo>
                  <a:cubicBezTo>
                    <a:pt x="0" y="930621"/>
                    <a:pt x="41605" y="971657"/>
                    <a:pt x="92126" y="971657"/>
                  </a:cubicBezTo>
                  <a:lnTo>
                    <a:pt x="426453" y="971657"/>
                  </a:lnTo>
                  <a:lnTo>
                    <a:pt x="117386" y="1097693"/>
                  </a:lnTo>
                  <a:cubicBezTo>
                    <a:pt x="69837" y="1116745"/>
                    <a:pt x="47549" y="1170971"/>
                    <a:pt x="66866" y="1217868"/>
                  </a:cubicBezTo>
                  <a:cubicBezTo>
                    <a:pt x="86182" y="1264766"/>
                    <a:pt x="141160" y="1286749"/>
                    <a:pt x="188709" y="1267697"/>
                  </a:cubicBezTo>
                  <a:lnTo>
                    <a:pt x="496291" y="1141660"/>
                  </a:lnTo>
                  <a:lnTo>
                    <a:pt x="260033" y="1374681"/>
                  </a:lnTo>
                  <a:cubicBezTo>
                    <a:pt x="224371" y="1409855"/>
                    <a:pt x="224371" y="1468476"/>
                    <a:pt x="260033" y="1505115"/>
                  </a:cubicBezTo>
                  <a:cubicBezTo>
                    <a:pt x="295694" y="1541754"/>
                    <a:pt x="355130" y="1540288"/>
                    <a:pt x="390792" y="1505115"/>
                  </a:cubicBezTo>
                  <a:lnTo>
                    <a:pt x="627050" y="1272093"/>
                  </a:lnTo>
                  <a:lnTo>
                    <a:pt x="499262" y="1575461"/>
                  </a:lnTo>
                  <a:cubicBezTo>
                    <a:pt x="479946" y="1622359"/>
                    <a:pt x="502234" y="1675118"/>
                    <a:pt x="549783" y="1695636"/>
                  </a:cubicBezTo>
                  <a:cubicBezTo>
                    <a:pt x="597332" y="1714688"/>
                    <a:pt x="650824" y="1692705"/>
                    <a:pt x="671627" y="1645807"/>
                  </a:cubicBezTo>
                  <a:lnTo>
                    <a:pt x="799414" y="1340974"/>
                  </a:lnTo>
                  <a:lnTo>
                    <a:pt x="799414" y="1670722"/>
                  </a:lnTo>
                  <a:cubicBezTo>
                    <a:pt x="799414" y="1720550"/>
                    <a:pt x="841019" y="1761585"/>
                    <a:pt x="891540" y="1761585"/>
                  </a:cubicBezTo>
                  <a:cubicBezTo>
                    <a:pt x="942061" y="1761585"/>
                    <a:pt x="983666" y="1720550"/>
                    <a:pt x="983666" y="1670722"/>
                  </a:cubicBezTo>
                  <a:lnTo>
                    <a:pt x="983666" y="1340974"/>
                  </a:lnTo>
                  <a:lnTo>
                    <a:pt x="1111453" y="1645807"/>
                  </a:lnTo>
                  <a:cubicBezTo>
                    <a:pt x="1130770" y="1692705"/>
                    <a:pt x="1185748" y="1714688"/>
                    <a:pt x="1233297" y="1695636"/>
                  </a:cubicBezTo>
                  <a:cubicBezTo>
                    <a:pt x="1280846" y="1675118"/>
                    <a:pt x="1303134" y="1622359"/>
                    <a:pt x="1283818" y="1575461"/>
                  </a:cubicBezTo>
                  <a:lnTo>
                    <a:pt x="1156030" y="1272093"/>
                  </a:lnTo>
                  <a:lnTo>
                    <a:pt x="1392288" y="1505115"/>
                  </a:lnTo>
                  <a:cubicBezTo>
                    <a:pt x="1427950" y="1540288"/>
                    <a:pt x="1487386" y="1540288"/>
                    <a:pt x="1523048" y="1505115"/>
                  </a:cubicBezTo>
                  <a:cubicBezTo>
                    <a:pt x="1558709" y="1469942"/>
                    <a:pt x="1558709" y="1411320"/>
                    <a:pt x="1523048" y="1374681"/>
                  </a:cubicBezTo>
                  <a:lnTo>
                    <a:pt x="1286789" y="1141660"/>
                  </a:lnTo>
                  <a:lnTo>
                    <a:pt x="1595857" y="1267697"/>
                  </a:lnTo>
                  <a:cubicBezTo>
                    <a:pt x="1643406" y="1286749"/>
                    <a:pt x="1696898" y="1264766"/>
                    <a:pt x="1717701" y="1217868"/>
                  </a:cubicBezTo>
                  <a:cubicBezTo>
                    <a:pt x="1737017" y="1170971"/>
                    <a:pt x="1714729" y="1118211"/>
                    <a:pt x="1667180" y="1097693"/>
                  </a:cubicBezTo>
                  <a:lnTo>
                    <a:pt x="1358113" y="971657"/>
                  </a:lnTo>
                  <a:lnTo>
                    <a:pt x="1692440" y="971657"/>
                  </a:lnTo>
                  <a:cubicBezTo>
                    <a:pt x="1744447" y="971657"/>
                    <a:pt x="1786052" y="930621"/>
                    <a:pt x="1786052" y="880793"/>
                  </a:cubicBezTo>
                  <a:close/>
                  <a:moveTo>
                    <a:pt x="890054" y="1106487"/>
                  </a:moveTo>
                  <a:cubicBezTo>
                    <a:pt x="763753" y="1106487"/>
                    <a:pt x="662711" y="1005364"/>
                    <a:pt x="662711" y="882258"/>
                  </a:cubicBezTo>
                  <a:cubicBezTo>
                    <a:pt x="662711" y="759152"/>
                    <a:pt x="765239" y="658030"/>
                    <a:pt x="890054" y="658030"/>
                  </a:cubicBezTo>
                  <a:cubicBezTo>
                    <a:pt x="1014870" y="658030"/>
                    <a:pt x="1117397" y="759152"/>
                    <a:pt x="1117397" y="882258"/>
                  </a:cubicBezTo>
                  <a:cubicBezTo>
                    <a:pt x="1117397" y="1005364"/>
                    <a:pt x="1014870" y="1106487"/>
                    <a:pt x="890054" y="1106487"/>
                  </a:cubicBezTo>
                  <a:close/>
                </a:path>
              </a:pathLst>
            </a:custGeom>
            <a:solidFill>
              <a:schemeClr val="accent1"/>
            </a:solidFill>
            <a:ln w="148590" cap="flat">
              <a:noFill/>
              <a:prstDash val="solid"/>
              <a:miter/>
            </a:ln>
          </p:spPr>
          <p:txBody>
            <a:bodyPr rtlCol="0" anchor="ctr"/>
            <a:lstStyle/>
            <a:p>
              <a:pPr algn="l" rtl="0"/>
              <a:endParaRPr lang="en-AE"/>
            </a:p>
          </p:txBody>
        </p:sp>
      </p:grpSp>
      <p:pic>
        <p:nvPicPr>
          <p:cNvPr id="56" name="Graphic 55">
            <a:extLst>
              <a:ext uri="{FF2B5EF4-FFF2-40B4-BE49-F238E27FC236}">
                <a16:creationId xmlns:a16="http://schemas.microsoft.com/office/drawing/2014/main" id="{E020FA13-E252-43B8-B22E-67866BDFCC8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700902" y="6986093"/>
            <a:ext cx="2560977" cy="4347705"/>
          </a:xfrm>
          <a:prstGeom prst="rect">
            <a:avLst/>
          </a:prstGeom>
        </p:spPr>
      </p:pic>
    </p:spTree>
    <p:extLst>
      <p:ext uri="{BB962C8B-B14F-4D97-AF65-F5344CB8AC3E}">
        <p14:creationId xmlns:p14="http://schemas.microsoft.com/office/powerpoint/2010/main" val="37170709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3">
            <a:lumMod val="60000"/>
            <a:lumOff val="40000"/>
          </a:schemeClr>
        </a:solidFill>
        <a:effectLst/>
      </p:bgPr>
    </p:bg>
    <p:spTree>
      <p:nvGrpSpPr>
        <p:cNvPr id="1" name=""/>
        <p:cNvGrpSpPr/>
        <p:nvPr/>
      </p:nvGrpSpPr>
      <p:grpSpPr>
        <a:xfrm>
          <a:off x="0" y="0"/>
          <a:ext cx="0" cy="0"/>
          <a:chOff x="0" y="0"/>
          <a:chExt cx="0" cy="0"/>
        </a:xfrm>
      </p:grpSpPr>
      <p:sp>
        <p:nvSpPr>
          <p:cNvPr id="27" name="object 15">
            <a:extLst>
              <a:ext uri="{FF2B5EF4-FFF2-40B4-BE49-F238E27FC236}">
                <a16:creationId xmlns:a16="http://schemas.microsoft.com/office/drawing/2014/main" id="{45A02F8F-A010-5EAE-A77D-ED6D1D8CF3E7}"/>
              </a:ext>
            </a:extLst>
          </p:cNvPr>
          <p:cNvSpPr/>
          <p:nvPr/>
        </p:nvSpPr>
        <p:spPr>
          <a:xfrm>
            <a:off x="10052050" y="0"/>
            <a:ext cx="10052050" cy="113087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chemeClr val="bg1"/>
          </a:solidFill>
        </p:spPr>
        <p:txBody>
          <a:bodyPr wrap="square" lIns="0" tIns="0" rIns="0" bIns="0" rtlCol="0"/>
          <a:lstStyle/>
          <a:p>
            <a:pPr algn="l" rtl="0"/>
            <a:endParaRPr/>
          </a:p>
        </p:txBody>
      </p:sp>
      <p:pic>
        <p:nvPicPr>
          <p:cNvPr id="19" name="Graphic 18">
            <a:extLst>
              <a:ext uri="{FF2B5EF4-FFF2-40B4-BE49-F238E27FC236}">
                <a16:creationId xmlns:a16="http://schemas.microsoft.com/office/drawing/2014/main" id="{DB880A46-FF70-57EE-F455-C10B6016C59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7401" y="695150"/>
            <a:ext cx="9081249" cy="4045126"/>
          </a:xfrm>
          <a:prstGeom prst="rect">
            <a:avLst/>
          </a:prstGeom>
        </p:spPr>
      </p:pic>
      <p:sp>
        <p:nvSpPr>
          <p:cNvPr id="13" name="object 22">
            <a:extLst>
              <a:ext uri="{FF2B5EF4-FFF2-40B4-BE49-F238E27FC236}">
                <a16:creationId xmlns:a16="http://schemas.microsoft.com/office/drawing/2014/main" id="{1774037D-6E0B-C420-689A-7129F8BF09F9}"/>
              </a:ext>
            </a:extLst>
          </p:cNvPr>
          <p:cNvSpPr txBox="1"/>
          <p:nvPr/>
        </p:nvSpPr>
        <p:spPr>
          <a:xfrm>
            <a:off x="10495800" y="1157070"/>
            <a:ext cx="9081249" cy="6486456"/>
          </a:xfrm>
          <a:prstGeom prst="rect">
            <a:avLst/>
          </a:prstGeom>
          <a:noFill/>
        </p:spPr>
        <p:txBody>
          <a:bodyPr vert="horz" wrap="square" lIns="0" tIns="12065" rIns="0" bIns="0" numCol="1" rtlCol="0">
            <a:spAutoFit/>
          </a:bodyPr>
          <a:lstStyle/>
          <a:p>
            <a:pPr marL="342900" indent="-331788">
              <a:lnSpc>
                <a:spcPts val="2800"/>
              </a:lnSpc>
              <a:spcBef>
                <a:spcPts val="105"/>
              </a:spcBef>
              <a:buChar char="•"/>
              <a:tabLst>
                <a:tab pos="221615" algn="l"/>
                <a:tab pos="222250" algn="l"/>
              </a:tabLst>
            </a:pPr>
            <a:r>
              <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The United Nation's Convention on the Rights of the Child (UNCRC) 1991</a:t>
            </a:r>
          </a:p>
          <a:p>
            <a:pPr marL="342900" indent="-331788">
              <a:lnSpc>
                <a:spcPts val="2800"/>
              </a:lnSpc>
              <a:spcBef>
                <a:spcPts val="105"/>
              </a:spcBef>
              <a:buChar char="•"/>
              <a:tabLst>
                <a:tab pos="221615" algn="l"/>
                <a:tab pos="222250" algn="l"/>
              </a:tabLst>
            </a:pPr>
            <a:r>
              <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UAE Federal Law No. 3 of 2016 on Children’s Rights (</a:t>
            </a:r>
            <a:r>
              <a:rPr lang="en-US" sz="2000" err="1">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Wadeema</a:t>
            </a:r>
            <a:r>
              <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a:t>
            </a:r>
          </a:p>
          <a:p>
            <a:pPr marL="342900" indent="-331788">
              <a:lnSpc>
                <a:spcPts val="2800"/>
              </a:lnSpc>
              <a:spcBef>
                <a:spcPts val="105"/>
              </a:spcBef>
              <a:buChar char="•"/>
              <a:tabLst>
                <a:tab pos="221615" algn="l"/>
                <a:tab pos="222250" algn="l"/>
              </a:tabLst>
            </a:pPr>
            <a:r>
              <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Federal Law No. (5) of 1983 Concerning Nurseries</a:t>
            </a:r>
          </a:p>
          <a:p>
            <a:pPr marL="342900" indent="-331788">
              <a:lnSpc>
                <a:spcPts val="2800"/>
              </a:lnSpc>
              <a:spcBef>
                <a:spcPts val="105"/>
              </a:spcBef>
              <a:buChar char="•"/>
              <a:tabLst>
                <a:tab pos="221615" algn="l"/>
                <a:tab pos="222250" algn="l"/>
              </a:tabLst>
            </a:pPr>
            <a:r>
              <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Decree related to Federal Law No. (21) of 2021</a:t>
            </a:r>
          </a:p>
          <a:p>
            <a:pPr marL="342900" indent="-331788">
              <a:lnSpc>
                <a:spcPts val="2800"/>
              </a:lnSpc>
              <a:spcBef>
                <a:spcPts val="5"/>
              </a:spcBef>
              <a:buChar char="•"/>
              <a:tabLst>
                <a:tab pos="221615" algn="l"/>
                <a:tab pos="222250" algn="l"/>
              </a:tabLst>
            </a:pPr>
            <a:r>
              <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Federal Law 9 of 1976 (Juvenile Delinquents and Vagrants Act)</a:t>
            </a:r>
          </a:p>
          <a:p>
            <a:pPr marL="342900" indent="-331788">
              <a:lnSpc>
                <a:spcPts val="2800"/>
              </a:lnSpc>
              <a:spcBef>
                <a:spcPts val="5"/>
              </a:spcBef>
              <a:buChar char="•"/>
              <a:tabLst>
                <a:tab pos="221615" algn="l"/>
                <a:tab pos="222250" algn="l"/>
              </a:tabLst>
            </a:pPr>
            <a:r>
              <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UAE Penal Cole 1987</a:t>
            </a:r>
          </a:p>
          <a:p>
            <a:pPr marL="342900" indent="-331788">
              <a:lnSpc>
                <a:spcPts val="2800"/>
              </a:lnSpc>
              <a:spcBef>
                <a:spcPts val="5"/>
              </a:spcBef>
              <a:buChar char="•"/>
              <a:tabLst>
                <a:tab pos="221615" algn="l"/>
                <a:tab pos="222250" algn="l"/>
              </a:tabLst>
            </a:pPr>
            <a:r>
              <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UAE Criminal Procedure Code 1992</a:t>
            </a:r>
          </a:p>
          <a:p>
            <a:pPr marL="342900" indent="-331788">
              <a:lnSpc>
                <a:spcPts val="2800"/>
              </a:lnSpc>
              <a:spcBef>
                <a:spcPts val="5"/>
              </a:spcBef>
              <a:buChar char="•"/>
              <a:tabLst>
                <a:tab pos="221615" algn="l"/>
                <a:tab pos="222250" algn="l"/>
              </a:tabLst>
            </a:pPr>
            <a:r>
              <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UAE Law of Evidence 1992</a:t>
            </a:r>
          </a:p>
          <a:p>
            <a:pPr marL="342900" indent="-331788">
              <a:lnSpc>
                <a:spcPts val="2800"/>
              </a:lnSpc>
              <a:spcBef>
                <a:spcPts val="5"/>
              </a:spcBef>
              <a:buChar char="•"/>
              <a:tabLst>
                <a:tab pos="221615" algn="l"/>
                <a:tab pos="222250" algn="l"/>
              </a:tabLst>
            </a:pPr>
            <a:r>
              <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Federal Compulsory Education Law - 11, 1972</a:t>
            </a:r>
          </a:p>
          <a:p>
            <a:pPr marL="342900" indent="-331788">
              <a:lnSpc>
                <a:spcPts val="2800"/>
              </a:lnSpc>
              <a:spcBef>
                <a:spcPts val="5"/>
              </a:spcBef>
              <a:buFontTx/>
              <a:buChar char="•"/>
              <a:tabLst>
                <a:tab pos="221615" algn="l"/>
                <a:tab pos="222250" algn="l"/>
              </a:tabLst>
            </a:pPr>
            <a:r>
              <a:rPr lang="en-US" sz="2000" err="1">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MoI</a:t>
            </a:r>
            <a:r>
              <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 Child Protection Center website (</a:t>
            </a:r>
            <a:r>
              <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hlinkClick r:id="rId5">
                  <a:extLst>
                    <a:ext uri="{A12FA001-AC4F-418D-AE19-62706E023703}">
                      <ahyp:hlinkClr xmlns:ahyp="http://schemas.microsoft.com/office/drawing/2018/hyperlinkcolor" val="tx"/>
                    </a:ext>
                  </a:extLst>
                </a:hlinkClick>
              </a:rPr>
              <a:t>www.moi-cpc.gov.ae</a:t>
            </a:r>
            <a:r>
              <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a:t>
            </a:r>
          </a:p>
          <a:p>
            <a:pPr marL="342900" indent="-331788">
              <a:lnSpc>
                <a:spcPts val="2800"/>
              </a:lnSpc>
              <a:spcBef>
                <a:spcPts val="5"/>
              </a:spcBef>
              <a:buFontTx/>
              <a:buChar char="•"/>
              <a:tabLst>
                <a:tab pos="221615" algn="l"/>
                <a:tab pos="222250" algn="l"/>
              </a:tabLst>
            </a:pPr>
            <a:r>
              <a:rPr lang="en-US" sz="2000" err="1">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MoI</a:t>
            </a:r>
            <a:r>
              <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ADEK Child Protection Center Memorandum of Understanding of 2015</a:t>
            </a:r>
          </a:p>
          <a:p>
            <a:pPr marL="342900" indent="-331788">
              <a:lnSpc>
                <a:spcPts val="2800"/>
              </a:lnSpc>
              <a:spcBef>
                <a:spcPts val="5"/>
              </a:spcBef>
              <a:buChar char="•"/>
              <a:tabLst>
                <a:tab pos="221615" algn="l"/>
                <a:tab pos="222250" algn="l"/>
              </a:tabLst>
            </a:pPr>
            <a:r>
              <a:rPr lang="en-US" sz="2000" err="1">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MoE</a:t>
            </a:r>
            <a:r>
              <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 Child Protection Policy</a:t>
            </a:r>
          </a:p>
          <a:p>
            <a:pPr marL="342900" indent="-331788">
              <a:lnSpc>
                <a:spcPts val="2800"/>
              </a:lnSpc>
              <a:spcBef>
                <a:spcPts val="5"/>
              </a:spcBef>
              <a:buChar char="•"/>
              <a:tabLst>
                <a:tab pos="221615" algn="l"/>
                <a:tab pos="222250" algn="l"/>
              </a:tabLst>
            </a:pPr>
            <a:r>
              <a:rPr lang="en-US" sz="2000" err="1">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MoE</a:t>
            </a:r>
            <a:r>
              <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 National Policy for the Prevention of Bullying in Educational Institution</a:t>
            </a:r>
          </a:p>
          <a:p>
            <a:pPr marL="342900" indent="-331788">
              <a:lnSpc>
                <a:spcPts val="2800"/>
              </a:lnSpc>
              <a:spcBef>
                <a:spcPts val="5"/>
              </a:spcBef>
              <a:buChar char="•"/>
              <a:tabLst>
                <a:tab pos="221615" algn="l"/>
                <a:tab pos="222250" algn="l"/>
              </a:tabLst>
            </a:pPr>
            <a:r>
              <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ADEK Policy 30 (Professional Code of Ethics) of the Private Schools Policy and Guidance Manual 2014-2015</a:t>
            </a:r>
          </a:p>
          <a:p>
            <a:pPr marL="342900" indent="-331788">
              <a:lnSpc>
                <a:spcPts val="2800"/>
              </a:lnSpc>
              <a:spcBef>
                <a:spcPts val="5"/>
              </a:spcBef>
              <a:buChar char="•"/>
              <a:tabLst>
                <a:tab pos="221615" algn="l"/>
                <a:tab pos="222250" algn="l"/>
              </a:tabLst>
            </a:pPr>
            <a:r>
              <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ADEK Policy 3 (Students Protection) of the Private Schools Policy and Guidance Manual 2014-2015</a:t>
            </a:r>
          </a:p>
          <a:p>
            <a:pPr marL="342900" indent="-331788">
              <a:lnSpc>
                <a:spcPts val="2800"/>
              </a:lnSpc>
              <a:spcBef>
                <a:spcPts val="5"/>
              </a:spcBef>
              <a:buFontTx/>
              <a:buChar char="•"/>
              <a:tabLst>
                <a:tab pos="221615" algn="l"/>
                <a:tab pos="222250" algn="l"/>
              </a:tabLst>
            </a:pPr>
            <a:r>
              <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Handling Student concerns of maltreatment at educational institutions</a:t>
            </a:r>
          </a:p>
        </p:txBody>
      </p:sp>
      <p:sp>
        <p:nvSpPr>
          <p:cNvPr id="16" name="object 26">
            <a:extLst>
              <a:ext uri="{FF2B5EF4-FFF2-40B4-BE49-F238E27FC236}">
                <a16:creationId xmlns:a16="http://schemas.microsoft.com/office/drawing/2014/main" id="{CE5738D2-6D5E-6C69-CCEC-4F571DE56756}"/>
              </a:ext>
            </a:extLst>
          </p:cNvPr>
          <p:cNvSpPr txBox="1"/>
          <p:nvPr/>
        </p:nvSpPr>
        <p:spPr>
          <a:xfrm>
            <a:off x="894601" y="1157070"/>
            <a:ext cx="7736179" cy="321883"/>
          </a:xfrm>
          <a:prstGeom prst="rect">
            <a:avLst/>
          </a:prstGeom>
        </p:spPr>
        <p:txBody>
          <a:bodyPr vert="horz" wrap="square" lIns="0" tIns="13970" rIns="0" bIns="0" rtlCol="0">
            <a:spAutoFit/>
          </a:bodyPr>
          <a:lstStyle/>
          <a:p>
            <a:pPr marL="12700">
              <a:spcBef>
                <a:spcPts val="110"/>
              </a:spcBef>
            </a:pPr>
            <a:r>
              <a:rPr sz="2000" b="1">
                <a:solidFill>
                  <a:schemeClr val="accent6"/>
                </a:solidFill>
                <a:latin typeface="Tahoma"/>
                <a:cs typeface="Tahoma"/>
              </a:rPr>
              <a:t>All Sta</a:t>
            </a:r>
            <a:r>
              <a:rPr lang="en-US" sz="2000" b="1">
                <a:solidFill>
                  <a:schemeClr val="accent6"/>
                </a:solidFill>
                <a:latin typeface="Tahoma"/>
                <a:cs typeface="Tahoma"/>
              </a:rPr>
              <a:t>ff </a:t>
            </a:r>
            <a:r>
              <a:rPr sz="2000" b="1">
                <a:solidFill>
                  <a:schemeClr val="accent6"/>
                </a:solidFill>
                <a:latin typeface="Tahoma"/>
                <a:cs typeface="Tahoma"/>
              </a:rPr>
              <a:t>and Volunteers of Educational Institutions</a:t>
            </a:r>
            <a:r>
              <a:rPr lang="en-US" sz="2000" b="1">
                <a:solidFill>
                  <a:schemeClr val="accent6"/>
                </a:solidFill>
                <a:latin typeface="Tahoma"/>
                <a:cs typeface="Tahoma"/>
              </a:rPr>
              <a:t> shall</a:t>
            </a:r>
            <a:r>
              <a:rPr sz="2000" b="1">
                <a:solidFill>
                  <a:schemeClr val="accent6"/>
                </a:solidFill>
                <a:latin typeface="Tahoma"/>
                <a:cs typeface="Tahoma"/>
              </a:rPr>
              <a:t>:</a:t>
            </a:r>
          </a:p>
        </p:txBody>
      </p:sp>
      <p:sp>
        <p:nvSpPr>
          <p:cNvPr id="17" name="object 27">
            <a:extLst>
              <a:ext uri="{FF2B5EF4-FFF2-40B4-BE49-F238E27FC236}">
                <a16:creationId xmlns:a16="http://schemas.microsoft.com/office/drawing/2014/main" id="{8EDA66C8-79CE-F16A-43AB-C92BDFE98470}"/>
              </a:ext>
            </a:extLst>
          </p:cNvPr>
          <p:cNvSpPr txBox="1"/>
          <p:nvPr/>
        </p:nvSpPr>
        <p:spPr>
          <a:xfrm>
            <a:off x="894600" y="1581052"/>
            <a:ext cx="8424497" cy="2825774"/>
          </a:xfrm>
          <a:prstGeom prst="rect">
            <a:avLst/>
          </a:prstGeom>
        </p:spPr>
        <p:txBody>
          <a:bodyPr vert="horz" wrap="square" lIns="0" tIns="17145" rIns="0" bIns="0" rtlCol="0">
            <a:spAutoFit/>
          </a:bodyPr>
          <a:lstStyle/>
          <a:p>
            <a:pPr marL="370205" indent="-358140">
              <a:lnSpc>
                <a:spcPct val="100000"/>
              </a:lnSpc>
              <a:spcBef>
                <a:spcPts val="135"/>
              </a:spcBef>
              <a:buChar char="•"/>
              <a:tabLst>
                <a:tab pos="370205" algn="l"/>
                <a:tab pos="370840" algn="l"/>
              </a:tabLst>
            </a:pPr>
            <a:r>
              <a:rPr sz="2000">
                <a:solidFill>
                  <a:schemeClr val="tx1">
                    <a:lumMod val="65000"/>
                    <a:lumOff val="35000"/>
                  </a:schemeClr>
                </a:solidFill>
              </a:rPr>
              <a:t>Report an alleged and/or suspected case of </a:t>
            </a:r>
            <a:r>
              <a:rPr lang="en-US" sz="2000">
                <a:solidFill>
                  <a:schemeClr val="tx1">
                    <a:lumMod val="65000"/>
                    <a:lumOff val="35000"/>
                  </a:schemeClr>
                </a:solidFill>
              </a:rPr>
              <a:t>threat to the child’s physical, psychological, moral, or mental safety including maltreatment</a:t>
            </a:r>
            <a:r>
              <a:rPr sz="2000">
                <a:solidFill>
                  <a:schemeClr val="tx1">
                    <a:lumMod val="65000"/>
                    <a:lumOff val="35000"/>
                  </a:schemeClr>
                </a:solidFill>
              </a:rPr>
              <a:t> </a:t>
            </a:r>
            <a:endParaRPr lang="en-US" sz="2000">
              <a:solidFill>
                <a:schemeClr val="tx1">
                  <a:lumMod val="65000"/>
                  <a:lumOff val="35000"/>
                </a:schemeClr>
              </a:solidFill>
            </a:endParaRPr>
          </a:p>
          <a:p>
            <a:pPr marL="370205" indent="-358140">
              <a:lnSpc>
                <a:spcPct val="100000"/>
              </a:lnSpc>
              <a:spcBef>
                <a:spcPts val="135"/>
              </a:spcBef>
              <a:buChar char="•"/>
              <a:tabLst>
                <a:tab pos="370205" algn="l"/>
                <a:tab pos="370840" algn="l"/>
              </a:tabLst>
            </a:pPr>
            <a:r>
              <a:rPr lang="en-US" sz="2000">
                <a:solidFill>
                  <a:schemeClr val="tx1">
                    <a:lumMod val="65000"/>
                    <a:lumOff val="35000"/>
                  </a:schemeClr>
                </a:solidFill>
              </a:rPr>
              <a:t>Pay attention to students throughout their time under</a:t>
            </a:r>
            <a:r>
              <a:rPr sz="2000">
                <a:solidFill>
                  <a:schemeClr val="tx1">
                    <a:lumMod val="65000"/>
                    <a:lumOff val="35000"/>
                  </a:schemeClr>
                </a:solidFill>
              </a:rPr>
              <a:t> </a:t>
            </a:r>
            <a:r>
              <a:rPr lang="en-US" sz="2000">
                <a:solidFill>
                  <a:schemeClr val="tx1">
                    <a:lumMod val="65000"/>
                    <a:lumOff val="35000"/>
                  </a:schemeClr>
                </a:solidFill>
              </a:rPr>
              <a:t>the supervision of the educational institution.</a:t>
            </a:r>
          </a:p>
          <a:p>
            <a:pPr marL="370205" indent="-358140">
              <a:lnSpc>
                <a:spcPct val="100000"/>
              </a:lnSpc>
              <a:spcBef>
                <a:spcPts val="135"/>
              </a:spcBef>
              <a:buChar char="•"/>
              <a:tabLst>
                <a:tab pos="370205" algn="l"/>
                <a:tab pos="370840" algn="l"/>
              </a:tabLst>
            </a:pPr>
            <a:r>
              <a:rPr sz="2000">
                <a:solidFill>
                  <a:schemeClr val="tx1">
                    <a:lumMod val="65000"/>
                    <a:lumOff val="35000"/>
                  </a:schemeClr>
                </a:solidFill>
              </a:rPr>
              <a:t>Understand this </a:t>
            </a:r>
            <a:r>
              <a:rPr lang="en-US" sz="2000">
                <a:solidFill>
                  <a:schemeClr val="tx1">
                    <a:lumMod val="65000"/>
                    <a:lumOff val="35000"/>
                  </a:schemeClr>
                </a:solidFill>
              </a:rPr>
              <a:t>document</a:t>
            </a:r>
            <a:r>
              <a:rPr sz="2000">
                <a:solidFill>
                  <a:schemeClr val="tx1">
                    <a:lumMod val="65000"/>
                    <a:lumOff val="35000"/>
                  </a:schemeClr>
                </a:solidFill>
              </a:rPr>
              <a:t> to address alleged and/or suspected</a:t>
            </a:r>
            <a:r>
              <a:rPr lang="en-US" sz="2000">
                <a:solidFill>
                  <a:schemeClr val="tx1">
                    <a:lumMod val="65000"/>
                    <a:lumOff val="35000"/>
                  </a:schemeClr>
                </a:solidFill>
              </a:rPr>
              <a:t> cases that cause threat to the child’s physical, psychological, moral, or mental safety including maltreatment.</a:t>
            </a:r>
          </a:p>
          <a:p>
            <a:pPr marL="370205" indent="-358140">
              <a:lnSpc>
                <a:spcPct val="100000"/>
              </a:lnSpc>
              <a:spcBef>
                <a:spcPts val="135"/>
              </a:spcBef>
              <a:buChar char="•"/>
              <a:tabLst>
                <a:tab pos="370205" algn="l"/>
                <a:tab pos="370840" algn="l"/>
              </a:tabLst>
            </a:pPr>
            <a:r>
              <a:rPr sz="2000">
                <a:solidFill>
                  <a:schemeClr val="tx1">
                    <a:lumMod val="65000"/>
                    <a:lumOff val="35000"/>
                  </a:schemeClr>
                </a:solidFill>
                <a:latin typeface="Arial Unicode MS"/>
                <a:cs typeface="Arial Unicode MS"/>
              </a:rPr>
              <a:t>Attend and participate in mandated student protection and safeguarding</a:t>
            </a:r>
            <a:r>
              <a:rPr lang="en-US" sz="2000">
                <a:solidFill>
                  <a:schemeClr val="tx1">
                    <a:lumMod val="65000"/>
                    <a:lumOff val="35000"/>
                  </a:schemeClr>
                </a:solidFill>
                <a:latin typeface="Arial Unicode MS"/>
                <a:cs typeface="Arial Unicode MS"/>
              </a:rPr>
              <a:t> training.</a:t>
            </a:r>
            <a:endParaRPr sz="2000">
              <a:solidFill>
                <a:schemeClr val="tx1">
                  <a:lumMod val="65000"/>
                  <a:lumOff val="35000"/>
                </a:schemeClr>
              </a:solidFill>
              <a:latin typeface="Arial Unicode MS"/>
              <a:cs typeface="Arial Unicode MS"/>
            </a:endParaRPr>
          </a:p>
        </p:txBody>
      </p:sp>
      <p:pic>
        <p:nvPicPr>
          <p:cNvPr id="20" name="Graphic 19">
            <a:extLst>
              <a:ext uri="{FF2B5EF4-FFF2-40B4-BE49-F238E27FC236}">
                <a16:creationId xmlns:a16="http://schemas.microsoft.com/office/drawing/2014/main" id="{F16CF168-C324-3D7A-3D12-210F29454D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7401" y="5181336"/>
            <a:ext cx="9081249" cy="5072276"/>
          </a:xfrm>
          <a:prstGeom prst="rect">
            <a:avLst/>
          </a:prstGeom>
        </p:spPr>
      </p:pic>
      <p:sp>
        <p:nvSpPr>
          <p:cNvPr id="21" name="object 26">
            <a:extLst>
              <a:ext uri="{FF2B5EF4-FFF2-40B4-BE49-F238E27FC236}">
                <a16:creationId xmlns:a16="http://schemas.microsoft.com/office/drawing/2014/main" id="{95DCF392-3AAC-623B-B6E9-4E9639298EE4}"/>
              </a:ext>
            </a:extLst>
          </p:cNvPr>
          <p:cNvSpPr txBox="1"/>
          <p:nvPr/>
        </p:nvSpPr>
        <p:spPr>
          <a:xfrm>
            <a:off x="894601" y="5643257"/>
            <a:ext cx="7736179" cy="321883"/>
          </a:xfrm>
          <a:prstGeom prst="rect">
            <a:avLst/>
          </a:prstGeom>
        </p:spPr>
        <p:txBody>
          <a:bodyPr vert="horz" wrap="square" lIns="0" tIns="13970" rIns="0" bIns="0" rtlCol="0">
            <a:spAutoFit/>
          </a:bodyPr>
          <a:lstStyle/>
          <a:p>
            <a:pPr marL="12700">
              <a:lnSpc>
                <a:spcPct val="100000"/>
              </a:lnSpc>
              <a:spcBef>
                <a:spcPts val="110"/>
              </a:spcBef>
            </a:pPr>
            <a:r>
              <a:rPr lang="en-US" sz="2000" b="1">
                <a:solidFill>
                  <a:schemeClr val="accent5"/>
                </a:solidFill>
                <a:latin typeface="Tahoma"/>
                <a:cs typeface="Tahoma"/>
              </a:rPr>
              <a:t>Parents:</a:t>
            </a:r>
            <a:endParaRPr lang="en-US" sz="2000">
              <a:solidFill>
                <a:schemeClr val="accent5"/>
              </a:solidFill>
              <a:latin typeface="Tahoma"/>
              <a:cs typeface="Tahoma"/>
            </a:endParaRPr>
          </a:p>
        </p:txBody>
      </p:sp>
      <p:sp>
        <p:nvSpPr>
          <p:cNvPr id="22" name="object 27">
            <a:extLst>
              <a:ext uri="{FF2B5EF4-FFF2-40B4-BE49-F238E27FC236}">
                <a16:creationId xmlns:a16="http://schemas.microsoft.com/office/drawing/2014/main" id="{51F8A44F-A278-FC6F-45DE-A3905835FACB}"/>
              </a:ext>
            </a:extLst>
          </p:cNvPr>
          <p:cNvSpPr txBox="1"/>
          <p:nvPr/>
        </p:nvSpPr>
        <p:spPr>
          <a:xfrm>
            <a:off x="894600" y="6201926"/>
            <a:ext cx="8089409" cy="3278141"/>
          </a:xfrm>
          <a:prstGeom prst="rect">
            <a:avLst/>
          </a:prstGeom>
        </p:spPr>
        <p:txBody>
          <a:bodyPr vert="horz" wrap="square" lIns="0" tIns="17145" rIns="0" bIns="0" rtlCol="0">
            <a:spAutoFit/>
          </a:bodyPr>
          <a:lstStyle/>
          <a:p>
            <a:pPr marL="370205" marR="213360" indent="-358140">
              <a:lnSpc>
                <a:spcPct val="102299"/>
              </a:lnSpc>
              <a:spcBef>
                <a:spcPts val="95"/>
              </a:spcBef>
              <a:buChar char="•"/>
              <a:tabLst>
                <a:tab pos="370205" algn="l"/>
                <a:tab pos="370840" algn="l"/>
              </a:tabLst>
            </a:pPr>
            <a:r>
              <a:rPr lang="en-US" sz="2000">
                <a:solidFill>
                  <a:srgbClr val="666666"/>
                </a:solidFill>
                <a:latin typeface="Arial Unicode MS"/>
                <a:cs typeface="Arial Unicode MS"/>
              </a:rPr>
              <a:t>Cooperate with the educational institution’s principal and staff, to answer all inquiries about the student’s behavior and academic performance and respond to their feedback and guidance.</a:t>
            </a:r>
            <a:endParaRPr lang="en-US" sz="2000">
              <a:latin typeface="Arial Unicode MS"/>
              <a:cs typeface="Arial Unicode MS"/>
            </a:endParaRPr>
          </a:p>
          <a:p>
            <a:pPr marL="370205" indent="-358140">
              <a:lnSpc>
                <a:spcPct val="100000"/>
              </a:lnSpc>
              <a:spcBef>
                <a:spcPts val="1195"/>
              </a:spcBef>
              <a:buChar char="•"/>
              <a:tabLst>
                <a:tab pos="370205" algn="l"/>
                <a:tab pos="370840" algn="l"/>
              </a:tabLst>
            </a:pPr>
            <a:r>
              <a:rPr lang="en-US" sz="2000">
                <a:solidFill>
                  <a:srgbClr val="666666"/>
                </a:solidFill>
                <a:latin typeface="Arial Unicode MS"/>
                <a:cs typeface="Arial Unicode MS"/>
              </a:rPr>
              <a:t>Attend all scheduled parent meetings with the educational institution.</a:t>
            </a:r>
            <a:endParaRPr lang="en-US" sz="2000">
              <a:latin typeface="Arial Unicode MS"/>
              <a:cs typeface="Arial Unicode MS"/>
            </a:endParaRPr>
          </a:p>
          <a:p>
            <a:pPr marL="370205" marR="5080" indent="-358140">
              <a:lnSpc>
                <a:spcPct val="102299"/>
              </a:lnSpc>
              <a:spcBef>
                <a:spcPts val="1155"/>
              </a:spcBef>
              <a:buChar char="•"/>
              <a:tabLst>
                <a:tab pos="370205" algn="l"/>
                <a:tab pos="370840" algn="l"/>
              </a:tabLst>
            </a:pPr>
            <a:r>
              <a:rPr lang="en-US" sz="2000">
                <a:solidFill>
                  <a:schemeClr val="tx1">
                    <a:lumMod val="65000"/>
                    <a:lumOff val="35000"/>
                  </a:schemeClr>
                </a:solidFill>
              </a:rPr>
              <a:t>Report any concerns, observations, or changes in their student’s behavior to the educational institution’s principal, and/or </a:t>
            </a:r>
            <a:r>
              <a:rPr lang="en-US" sz="2000">
                <a:solidFill>
                  <a:srgbClr val="666666"/>
                </a:solidFill>
                <a:latin typeface="Arial Unicode MS"/>
                <a:cs typeface="Arial Unicode MS"/>
              </a:rPr>
              <a:t>board members, and/or to the </a:t>
            </a:r>
            <a:r>
              <a:rPr lang="en-US" sz="2000">
                <a:solidFill>
                  <a:schemeClr val="tx1">
                    <a:lumMod val="65000"/>
                    <a:lumOff val="35000"/>
                  </a:schemeClr>
                </a:solidFill>
              </a:rPr>
              <a:t>relevant</a:t>
            </a:r>
            <a:r>
              <a:rPr lang="en-US" sz="2000">
                <a:solidFill>
                  <a:srgbClr val="666666"/>
                </a:solidFill>
                <a:latin typeface="Arial Unicode MS"/>
                <a:cs typeface="Arial Unicode MS"/>
              </a:rPr>
              <a:t> institution’s staff.</a:t>
            </a:r>
            <a:endParaRPr lang="en-US" sz="2000">
              <a:latin typeface="Arial Unicode MS"/>
              <a:cs typeface="Arial Unicode MS"/>
            </a:endParaRPr>
          </a:p>
          <a:p>
            <a:pPr marL="370205" marR="81915" indent="-358140">
              <a:lnSpc>
                <a:spcPct val="102299"/>
              </a:lnSpc>
              <a:spcBef>
                <a:spcPts val="1155"/>
              </a:spcBef>
              <a:buChar char="•"/>
              <a:tabLst>
                <a:tab pos="370205" algn="l"/>
                <a:tab pos="370840" algn="l"/>
              </a:tabLst>
            </a:pPr>
            <a:r>
              <a:rPr lang="en-US" sz="2000">
                <a:solidFill>
                  <a:schemeClr val="tx1">
                    <a:lumMod val="65000"/>
                    <a:lumOff val="35000"/>
                  </a:schemeClr>
                </a:solidFill>
              </a:rPr>
              <a:t>Support the educational institutions in adopting safe online practices during distance learning and completing hom</a:t>
            </a:r>
            <a:r>
              <a:rPr lang="en-US" sz="2000">
                <a:solidFill>
                  <a:srgbClr val="666666"/>
                </a:solidFill>
                <a:latin typeface="Arial Unicode MS"/>
                <a:cs typeface="Arial Unicode MS"/>
              </a:rPr>
              <a:t>ework.</a:t>
            </a:r>
            <a:endParaRPr lang="en-US" sz="2000">
              <a:latin typeface="Arial Unicode MS"/>
              <a:cs typeface="Arial Unicode MS"/>
            </a:endParaRPr>
          </a:p>
        </p:txBody>
      </p:sp>
      <p:sp>
        <p:nvSpPr>
          <p:cNvPr id="24" name="object 22">
            <a:extLst>
              <a:ext uri="{FF2B5EF4-FFF2-40B4-BE49-F238E27FC236}">
                <a16:creationId xmlns:a16="http://schemas.microsoft.com/office/drawing/2014/main" id="{92A19B05-C73B-327C-E70C-EA52AB22DCE9}"/>
              </a:ext>
            </a:extLst>
          </p:cNvPr>
          <p:cNvSpPr txBox="1"/>
          <p:nvPr/>
        </p:nvSpPr>
        <p:spPr>
          <a:xfrm>
            <a:off x="10509248" y="686808"/>
            <a:ext cx="9067802" cy="319959"/>
          </a:xfrm>
          <a:prstGeom prst="rect">
            <a:avLst/>
          </a:prstGeom>
          <a:noFill/>
        </p:spPr>
        <p:txBody>
          <a:bodyPr vert="horz" wrap="square" lIns="0" tIns="12065" rIns="0" bIns="0" numCol="1" rtlCol="0">
            <a:spAutoFit/>
          </a:bodyPr>
          <a:lstStyle/>
          <a:p>
            <a:pPr marL="12700">
              <a:spcBef>
                <a:spcPts val="1200"/>
              </a:spcBef>
              <a:tabLst>
                <a:tab pos="370205" algn="l"/>
              </a:tabLst>
            </a:pPr>
            <a:r>
              <a:rPr lang="en-US" sz="2000" b="1">
                <a:solidFill>
                  <a:srgbClr val="666666"/>
                </a:solidFill>
                <a:latin typeface="Tahoma"/>
                <a:cs typeface="Tahoma"/>
              </a:rPr>
              <a:t>References</a:t>
            </a:r>
            <a:endPar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25" name="object 22">
            <a:extLst>
              <a:ext uri="{FF2B5EF4-FFF2-40B4-BE49-F238E27FC236}">
                <a16:creationId xmlns:a16="http://schemas.microsoft.com/office/drawing/2014/main" id="{DA4976D7-CB29-BCA2-8C3B-682C3DEE7596}"/>
              </a:ext>
            </a:extLst>
          </p:cNvPr>
          <p:cNvSpPr txBox="1"/>
          <p:nvPr/>
        </p:nvSpPr>
        <p:spPr>
          <a:xfrm>
            <a:off x="10495800" y="8490290"/>
            <a:ext cx="9081249" cy="376385"/>
          </a:xfrm>
          <a:prstGeom prst="rect">
            <a:avLst/>
          </a:prstGeom>
          <a:noFill/>
        </p:spPr>
        <p:txBody>
          <a:bodyPr vert="horz" wrap="square" lIns="0" tIns="12065" rIns="0" bIns="0" numCol="1" rtlCol="0" anchor="t">
            <a:spAutoFit/>
          </a:bodyPr>
          <a:lstStyle/>
          <a:p>
            <a:pPr marL="353695" indent="-342900">
              <a:lnSpc>
                <a:spcPct val="150000"/>
              </a:lnSpc>
              <a:spcBef>
                <a:spcPts val="5"/>
              </a:spcBef>
              <a:buFont typeface="Arial,Sans-Serif"/>
              <a:buChar char="•"/>
              <a:tabLst>
                <a:tab pos="221615" algn="l"/>
                <a:tab pos="222250" algn="l"/>
              </a:tabLst>
            </a:pPr>
            <a:r>
              <a:rPr lang="en-US">
                <a:solidFill>
                  <a:schemeClr val="tx1">
                    <a:lumMod val="65000"/>
                    <a:lumOff val="35000"/>
                  </a:schemeClr>
                </a:solidFill>
                <a:latin typeface="Arial"/>
                <a:cs typeface="Arial"/>
              </a:rPr>
              <a:t>Reporting potential child safety concerns portal: </a:t>
            </a:r>
            <a:r>
              <a:rPr lang="en-US">
                <a:solidFill>
                  <a:schemeClr val="tx1">
                    <a:lumMod val="65000"/>
                    <a:lumOff val="35000"/>
                  </a:schemeClr>
                </a:solidFill>
                <a:latin typeface="Arial"/>
                <a:cs typeface="Arial"/>
                <a:hlinkClick r:id="rId6">
                  <a:extLst>
                    <a:ext uri="{A12FA001-AC4F-418D-AE19-62706E023703}">
                      <ahyp:hlinkClr xmlns:ahyp="http://schemas.microsoft.com/office/drawing/2018/hyperlinkcolor" val="tx"/>
                    </a:ext>
                  </a:extLst>
                </a:hlinkClick>
              </a:rPr>
              <a:t>www.daasafetyconcern.abudhabi</a:t>
            </a:r>
            <a:endParaRPr lang="en-US">
              <a:solidFill>
                <a:schemeClr val="tx1">
                  <a:lumMod val="65000"/>
                  <a:lumOff val="35000"/>
                </a:schemeClr>
              </a:solidFill>
              <a:latin typeface="Arial"/>
              <a:cs typeface="Arial"/>
            </a:endParaRPr>
          </a:p>
        </p:txBody>
      </p:sp>
      <p:sp>
        <p:nvSpPr>
          <p:cNvPr id="26" name="object 22">
            <a:extLst>
              <a:ext uri="{FF2B5EF4-FFF2-40B4-BE49-F238E27FC236}">
                <a16:creationId xmlns:a16="http://schemas.microsoft.com/office/drawing/2014/main" id="{0962A6B9-0254-ABBC-60C9-F08F6740084E}"/>
              </a:ext>
            </a:extLst>
          </p:cNvPr>
          <p:cNvSpPr txBox="1"/>
          <p:nvPr/>
        </p:nvSpPr>
        <p:spPr>
          <a:xfrm>
            <a:off x="10509248" y="8020028"/>
            <a:ext cx="9067802" cy="319959"/>
          </a:xfrm>
          <a:prstGeom prst="rect">
            <a:avLst/>
          </a:prstGeom>
          <a:noFill/>
        </p:spPr>
        <p:txBody>
          <a:bodyPr vert="horz" wrap="square" lIns="0" tIns="12065" rIns="0" bIns="0" numCol="1" rtlCol="0">
            <a:spAutoFit/>
          </a:bodyPr>
          <a:lstStyle/>
          <a:p>
            <a:pPr marL="12700">
              <a:spcBef>
                <a:spcPts val="1200"/>
              </a:spcBef>
              <a:tabLst>
                <a:tab pos="370205" algn="l"/>
              </a:tabLst>
            </a:pPr>
            <a:r>
              <a:rPr lang="en-US" sz="2000" b="1">
                <a:solidFill>
                  <a:srgbClr val="666666"/>
                </a:solidFill>
                <a:latin typeface="Tahoma"/>
                <a:cs typeface="Tahoma"/>
              </a:rPr>
              <a:t>Appendix</a:t>
            </a:r>
            <a:endPar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pic>
        <p:nvPicPr>
          <p:cNvPr id="28" name="Graphic 27">
            <a:extLst>
              <a:ext uri="{FF2B5EF4-FFF2-40B4-BE49-F238E27FC236}">
                <a16:creationId xmlns:a16="http://schemas.microsoft.com/office/drawing/2014/main" id="{F93DD435-CC41-A43F-12CE-475D52EFF4A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84010" y="471835"/>
            <a:ext cx="763240" cy="763240"/>
          </a:xfrm>
          <a:prstGeom prst="rect">
            <a:avLst/>
          </a:prstGeom>
        </p:spPr>
      </p:pic>
      <p:pic>
        <p:nvPicPr>
          <p:cNvPr id="29" name="Graphic 28">
            <a:extLst>
              <a:ext uri="{FF2B5EF4-FFF2-40B4-BE49-F238E27FC236}">
                <a16:creationId xmlns:a16="http://schemas.microsoft.com/office/drawing/2014/main" id="{6640E4DB-AB5C-6615-630F-1C4F0B6C4B6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49762" y="4996387"/>
            <a:ext cx="582088" cy="582088"/>
          </a:xfrm>
          <a:prstGeom prst="rect">
            <a:avLst/>
          </a:prstGeom>
        </p:spPr>
      </p:pic>
      <p:pic>
        <p:nvPicPr>
          <p:cNvPr id="30" name="Picture 29">
            <a:extLst>
              <a:ext uri="{FF2B5EF4-FFF2-40B4-BE49-F238E27FC236}">
                <a16:creationId xmlns:a16="http://schemas.microsoft.com/office/drawing/2014/main" id="{1F509289-2A4F-B6EF-AF3F-B5B76120008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6762854" y="8867680"/>
            <a:ext cx="3341246" cy="2463376"/>
          </a:xfrm>
          <a:prstGeom prst="rect">
            <a:avLst/>
          </a:prstGeom>
        </p:spPr>
      </p:pic>
    </p:spTree>
    <p:extLst>
      <p:ext uri="{BB962C8B-B14F-4D97-AF65-F5344CB8AC3E}">
        <p14:creationId xmlns:p14="http://schemas.microsoft.com/office/powerpoint/2010/main" val="13027390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bject 13"/>
          <p:cNvSpPr txBox="1">
            <a:spLocks noGrp="1"/>
          </p:cNvSpPr>
          <p:nvPr>
            <p:ph type="title"/>
          </p:nvPr>
        </p:nvSpPr>
        <p:spPr>
          <a:prstGeom prst="rect">
            <a:avLst/>
          </a:prstGeom>
        </p:spPr>
        <p:txBody>
          <a:bodyPr vert="horz" wrap="square" lIns="0" tIns="15240" rIns="0" bIns="0" rtlCol="0">
            <a:spAutoFit/>
          </a:bodyPr>
          <a:lstStyle/>
          <a:p>
            <a:pPr marL="12700">
              <a:lnSpc>
                <a:spcPct val="100000"/>
              </a:lnSpc>
              <a:spcBef>
                <a:spcPts val="120"/>
              </a:spcBef>
            </a:pPr>
            <a:r>
              <a:rPr sz="6350" spc="-110">
                <a:solidFill>
                  <a:srgbClr val="002060"/>
                </a:solidFill>
                <a:latin typeface="Tahoma" panose="020B0604030504040204" pitchFamily="34" charset="0"/>
                <a:ea typeface="Tahoma" panose="020B0604030504040204" pitchFamily="34" charset="0"/>
                <a:cs typeface="Tahoma" panose="020B0604030504040204" pitchFamily="34" charset="0"/>
              </a:rPr>
              <a:t>Thank</a:t>
            </a:r>
            <a:r>
              <a:rPr sz="6350" spc="-445">
                <a:solidFill>
                  <a:srgbClr val="002060"/>
                </a:solidFill>
                <a:latin typeface="Tahoma" panose="020B0604030504040204" pitchFamily="34" charset="0"/>
                <a:ea typeface="Tahoma" panose="020B0604030504040204" pitchFamily="34" charset="0"/>
                <a:cs typeface="Tahoma" panose="020B0604030504040204" pitchFamily="34" charset="0"/>
              </a:rPr>
              <a:t> </a:t>
            </a:r>
            <a:r>
              <a:rPr sz="6350" spc="-105">
                <a:solidFill>
                  <a:srgbClr val="002060"/>
                </a:solidFill>
                <a:latin typeface="Tahoma" panose="020B0604030504040204" pitchFamily="34" charset="0"/>
                <a:ea typeface="Tahoma" panose="020B0604030504040204" pitchFamily="34" charset="0"/>
                <a:cs typeface="Tahoma" panose="020B0604030504040204" pitchFamily="34" charset="0"/>
              </a:rPr>
              <a:t>you</a:t>
            </a:r>
            <a:endParaRPr sz="6350">
              <a:solidFill>
                <a:srgbClr val="002060"/>
              </a:solidFill>
              <a:latin typeface="Tahoma" panose="020B0604030504040204" pitchFamily="34" charset="0"/>
              <a:ea typeface="Tahoma" panose="020B0604030504040204" pitchFamily="34" charset="0"/>
              <a:cs typeface="Tahoma" panose="020B0604030504040204" pitchFamily="34" charset="0"/>
            </a:endParaRPr>
          </a:p>
        </p:txBody>
      </p:sp>
      <p:pic>
        <p:nvPicPr>
          <p:cNvPr id="41" name="Picture 40">
            <a:extLst>
              <a:ext uri="{FF2B5EF4-FFF2-40B4-BE49-F238E27FC236}">
                <a16:creationId xmlns:a16="http://schemas.microsoft.com/office/drawing/2014/main" id="{EB288622-0A2D-E889-3767-47D41BDF04D0}"/>
              </a:ext>
            </a:extLst>
          </p:cNvPr>
          <p:cNvPicPr>
            <a:picLocks noChangeAspect="1"/>
          </p:cNvPicPr>
          <p:nvPr/>
        </p:nvPicPr>
        <p:blipFill>
          <a:blip r:embed="rId2" cstate="print">
            <a:extLst>
              <a:ext uri="{BEBA8EAE-BF5A-486C-A8C5-ECC9F3942E4B}">
                <a14:imgProps xmlns:a14="http://schemas.microsoft.com/office/drawing/2010/main">
                  <a14:imgLayer r:embed="rId3">
                    <a14:imgEffect>
                      <a14:artisticPencilSketch/>
                    </a14:imgEffect>
                  </a14:imgLayer>
                </a14:imgProps>
              </a:ext>
              <a:ext uri="{28A0092B-C50C-407E-A947-70E740481C1C}">
                <a14:useLocalDpi xmlns:a14="http://schemas.microsoft.com/office/drawing/2010/main" val="0"/>
              </a:ext>
            </a:extLst>
          </a:blip>
          <a:stretch>
            <a:fillRect/>
          </a:stretch>
        </p:blipFill>
        <p:spPr>
          <a:xfrm>
            <a:off x="14731072" y="6453659"/>
            <a:ext cx="1446464" cy="1446464"/>
          </a:xfrm>
          <a:prstGeom prst="rect">
            <a:avLst/>
          </a:prstGeom>
        </p:spPr>
      </p:pic>
      <p:sp>
        <p:nvSpPr>
          <p:cNvPr id="2" name="object 20">
            <a:extLst>
              <a:ext uri="{FF2B5EF4-FFF2-40B4-BE49-F238E27FC236}">
                <a16:creationId xmlns:a16="http://schemas.microsoft.com/office/drawing/2014/main" id="{6161C752-EC99-A32B-6539-A4789C13CD40}"/>
              </a:ext>
            </a:extLst>
          </p:cNvPr>
          <p:cNvSpPr txBox="1"/>
          <p:nvPr/>
        </p:nvSpPr>
        <p:spPr>
          <a:xfrm>
            <a:off x="18214677" y="10112090"/>
            <a:ext cx="1275715" cy="582930"/>
          </a:xfrm>
          <a:prstGeom prst="rect">
            <a:avLst/>
          </a:prstGeom>
        </p:spPr>
        <p:txBody>
          <a:bodyPr vert="horz" wrap="square" lIns="0" tIns="13335" rIns="0" bIns="0" rtlCol="0">
            <a:spAutoFit/>
          </a:bodyPr>
          <a:lstStyle/>
          <a:p>
            <a:pPr marL="12700">
              <a:lnSpc>
                <a:spcPct val="100000"/>
              </a:lnSpc>
              <a:spcBef>
                <a:spcPts val="105"/>
              </a:spcBef>
            </a:pPr>
            <a:r>
              <a:rPr lang="en-US" sz="3650" b="1" spc="-20">
                <a:solidFill>
                  <a:srgbClr val="FFFFFF"/>
                </a:solidFill>
                <a:latin typeface="Tahoma" panose="020B0604030504040204" pitchFamily="34" charset="0"/>
                <a:ea typeface="Tahoma" panose="020B0604030504040204" pitchFamily="34" charset="0"/>
                <a:cs typeface="Tahoma" panose="020B0604030504040204" pitchFamily="34" charset="0"/>
              </a:rPr>
              <a:t>2024</a:t>
            </a:r>
            <a:endParaRPr sz="3650" b="1">
              <a:latin typeface="Tahoma" panose="020B0604030504040204" pitchFamily="34" charset="0"/>
              <a:ea typeface="Tahoma" panose="020B0604030504040204" pitchFamily="34" charset="0"/>
              <a:cs typeface="Tahoma" panose="020B0604030504040204" pitchFamily="34" charset="0"/>
            </a:endParaRPr>
          </a:p>
        </p:txBody>
      </p:sp>
      <p:grpSp>
        <p:nvGrpSpPr>
          <p:cNvPr id="3" name="Group 2">
            <a:extLst>
              <a:ext uri="{FF2B5EF4-FFF2-40B4-BE49-F238E27FC236}">
                <a16:creationId xmlns:a16="http://schemas.microsoft.com/office/drawing/2014/main" id="{541CF18E-6286-6FC5-8730-6FFF3BF907BC}"/>
              </a:ext>
            </a:extLst>
          </p:cNvPr>
          <p:cNvGrpSpPr/>
          <p:nvPr/>
        </p:nvGrpSpPr>
        <p:grpSpPr>
          <a:xfrm>
            <a:off x="560544" y="9709978"/>
            <a:ext cx="4207278" cy="1245268"/>
            <a:chOff x="560544" y="9709978"/>
            <a:chExt cx="4207278" cy="1245268"/>
          </a:xfrm>
        </p:grpSpPr>
        <p:pic>
          <p:nvPicPr>
            <p:cNvPr id="4" name="Picture 3" descr="A picture containing logo, clipart, text, cartoon&#10;&#10;Description automatically generated">
              <a:extLst>
                <a:ext uri="{FF2B5EF4-FFF2-40B4-BE49-F238E27FC236}">
                  <a16:creationId xmlns:a16="http://schemas.microsoft.com/office/drawing/2014/main" id="{F92C5172-37EA-D154-1A19-397A7A253A9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7901" r="17889"/>
            <a:stretch/>
          </p:blipFill>
          <p:spPr>
            <a:xfrm>
              <a:off x="560544" y="9709978"/>
              <a:ext cx="1421478" cy="1245268"/>
            </a:xfrm>
            <a:prstGeom prst="rect">
              <a:avLst/>
            </a:prstGeom>
          </p:spPr>
        </p:pic>
        <p:pic>
          <p:nvPicPr>
            <p:cNvPr id="5" name="Graphic 4">
              <a:extLst>
                <a:ext uri="{FF2B5EF4-FFF2-40B4-BE49-F238E27FC236}">
                  <a16:creationId xmlns:a16="http://schemas.microsoft.com/office/drawing/2014/main" id="{99995DAB-8DE8-61A1-09E2-013B16FA8C0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79975" y="9907290"/>
              <a:ext cx="974126" cy="850645"/>
            </a:xfrm>
            <a:prstGeom prst="rect">
              <a:avLst/>
            </a:prstGeom>
          </p:spPr>
        </p:pic>
        <p:pic>
          <p:nvPicPr>
            <p:cNvPr id="6" name="Graphic 5">
              <a:extLst>
                <a:ext uri="{FF2B5EF4-FFF2-40B4-BE49-F238E27FC236}">
                  <a16:creationId xmlns:a16="http://schemas.microsoft.com/office/drawing/2014/main" id="{AF7BE06A-BBA9-574E-2DDC-4B4E1E35FF3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52053" y="9966619"/>
              <a:ext cx="1215769" cy="731986"/>
            </a:xfrm>
            <a:prstGeom prst="rect">
              <a:avLst/>
            </a:prstGeom>
          </p:spPr>
        </p:pic>
      </p:grpSp>
    </p:spTree>
    <p:extLst>
      <p:ext uri="{BB962C8B-B14F-4D97-AF65-F5344CB8AC3E}">
        <p14:creationId xmlns:p14="http://schemas.microsoft.com/office/powerpoint/2010/main" val="39126174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3662DC6D-8449-E4E5-B848-64A1C103A655}"/>
              </a:ext>
            </a:extLst>
          </p:cNvPr>
          <p:cNvSpPr txBox="1">
            <a:spLocks/>
          </p:cNvSpPr>
          <p:nvPr/>
        </p:nvSpPr>
        <p:spPr>
          <a:xfrm>
            <a:off x="908050" y="625475"/>
            <a:ext cx="2424430" cy="582852"/>
          </a:xfrm>
          <a:prstGeom prst="rect">
            <a:avLst/>
          </a:prstGeom>
        </p:spPr>
        <p:txBody>
          <a:bodyPr vert="horz" wrap="square" lIns="0" tIns="1333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nSpc>
                <a:spcPct val="100000"/>
              </a:lnSpc>
              <a:spcBef>
                <a:spcPts val="105"/>
              </a:spcBef>
            </a:pPr>
            <a:r>
              <a:rPr lang="en-US" sz="3700" b="1">
                <a:solidFill>
                  <a:srgbClr val="002060"/>
                </a:solidFill>
                <a:latin typeface="Tahoma" panose="020B0604030504040204" pitchFamily="34" charset="0"/>
                <a:ea typeface="Tahoma" panose="020B0604030504040204" pitchFamily="34" charset="0"/>
                <a:cs typeface="Tahoma" panose="020B0604030504040204" pitchFamily="34" charset="0"/>
              </a:rPr>
              <a:t>PURPOSE</a:t>
            </a:r>
          </a:p>
        </p:txBody>
      </p:sp>
      <p:sp>
        <p:nvSpPr>
          <p:cNvPr id="3" name="object 3">
            <a:extLst>
              <a:ext uri="{FF2B5EF4-FFF2-40B4-BE49-F238E27FC236}">
                <a16:creationId xmlns:a16="http://schemas.microsoft.com/office/drawing/2014/main" id="{714A61B8-823F-9188-8A02-AE3A073AD24E}"/>
              </a:ext>
            </a:extLst>
          </p:cNvPr>
          <p:cNvSpPr txBox="1"/>
          <p:nvPr/>
        </p:nvSpPr>
        <p:spPr>
          <a:xfrm>
            <a:off x="908050" y="1603783"/>
            <a:ext cx="9644890" cy="7938135"/>
          </a:xfrm>
          <a:prstGeom prst="rect">
            <a:avLst/>
          </a:prstGeom>
        </p:spPr>
        <p:txBody>
          <a:bodyPr vert="horz" wrap="square" lIns="0" tIns="11430" rIns="0" bIns="0" rtlCol="0">
            <a:spAutoFit/>
          </a:bodyPr>
          <a:lstStyle/>
          <a:p>
            <a:pPr marL="12700" marR="276225">
              <a:lnSpc>
                <a:spcPts val="2800"/>
              </a:lnSpc>
              <a:spcBef>
                <a:spcPts val="90"/>
              </a:spcBef>
            </a:pP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The purpose of this policy is to ensure that all educational</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departments and educational institutions in </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Abu Dhabi </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have </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student </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protection measures in place to:</a:t>
            </a:r>
            <a:endPar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endParaRPr>
          </a:p>
          <a:p>
            <a:pPr marL="12700" marR="276225">
              <a:lnSpc>
                <a:spcPts val="2800"/>
              </a:lnSpc>
              <a:spcBef>
                <a:spcPts val="90"/>
              </a:spcBef>
            </a:pPr>
            <a:endPar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endParaRPr>
          </a:p>
          <a:p>
            <a:pPr marL="274320" marR="29845" indent="-262255">
              <a:lnSpc>
                <a:spcPts val="2800"/>
              </a:lnSpc>
              <a:buChar char="•"/>
              <a:tabLst>
                <a:tab pos="283210" algn="l"/>
                <a:tab pos="283845" algn="l"/>
              </a:tabLst>
            </a:pP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Protect </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students</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under the supervision of</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educational institutions from all acts and omissions constituting</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maltreatment or that threaten their physical, psychological, moral, or mental well-being.</a:t>
            </a:r>
            <a:endPar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endParaRPr>
          </a:p>
          <a:p>
            <a:pPr marL="274320" marR="38735" indent="-262255">
              <a:lnSpc>
                <a:spcPts val="2800"/>
              </a:lnSpc>
              <a:spcBef>
                <a:spcPts val="825"/>
              </a:spcBef>
              <a:buChar char="•"/>
              <a:tabLst>
                <a:tab pos="283210" algn="l"/>
                <a:tab pos="283845" algn="l"/>
              </a:tabLst>
            </a:pP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Identify and support </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students</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who </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are </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at risk of harm</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as</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enforced by </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UAE Federal Law No. (3) of 2016 Concerning Child Rights, Federal Law No. (31) of 2021 Promulgating the Crimes and Penalties Law, Federal Law No. (5) of 1983 Concerning Nurseries, Federal Law No. (18) of 2020 Concerning Private Education, Executive Council Chairman Decision No. (26) of 2013 Regarding the Regulation of Private Schools in the Emirate of Abu Dhabi, and other relevant UAE laws.</a:t>
            </a:r>
          </a:p>
          <a:p>
            <a:pPr marL="274320" marR="38735" indent="-262255">
              <a:lnSpc>
                <a:spcPts val="2800"/>
              </a:lnSpc>
              <a:spcBef>
                <a:spcPts val="825"/>
              </a:spcBef>
              <a:buChar char="•"/>
              <a:tabLst>
                <a:tab pos="283210" algn="l"/>
                <a:tab pos="283845" algn="l"/>
              </a:tabLst>
            </a:pP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Emphasize that all staff and volunteers of educational</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departments and</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educational</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institutions are mandated </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to report concerns </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of</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alleged and/or suspected </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maltreatment</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of </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students </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inside and outside the educational institution.</a:t>
            </a:r>
          </a:p>
          <a:p>
            <a:pPr marL="274320" marR="172085" indent="-262255">
              <a:lnSpc>
                <a:spcPts val="2800"/>
              </a:lnSpc>
              <a:spcBef>
                <a:spcPts val="825"/>
              </a:spcBef>
              <a:buChar char="•"/>
              <a:tabLst>
                <a:tab pos="283210" algn="l"/>
                <a:tab pos="283845" algn="l"/>
              </a:tabLst>
            </a:pP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Define roles and responsibilities of </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p</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rincipals, staff and parents</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legal guardians</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of </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students in </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educational</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institutions </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for</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responding to alleged and/or suspected cases of</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maltreatment of students</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a:t>
            </a:r>
          </a:p>
          <a:p>
            <a:pPr marL="274320" marR="537845" indent="-262255">
              <a:lnSpc>
                <a:spcPts val="2800"/>
              </a:lnSpc>
              <a:spcBef>
                <a:spcPts val="825"/>
              </a:spcBef>
              <a:buChar char="•"/>
              <a:tabLst>
                <a:tab pos="283210" algn="l"/>
                <a:tab pos="283845" algn="l"/>
              </a:tabLst>
            </a:pP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Ensure that all educational institutions are</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responsible for the care</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and </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protection</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of all</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students</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in educational institutions and coordinate</a:t>
            </a:r>
            <a:r>
              <a:rPr lang="en-US"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a:t>
            </a:r>
            <a:r>
              <a:rPr sz="20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actions to safeguard them.</a:t>
            </a:r>
          </a:p>
        </p:txBody>
      </p:sp>
      <p:sp>
        <p:nvSpPr>
          <p:cNvPr id="4" name="object 2">
            <a:extLst>
              <a:ext uri="{FF2B5EF4-FFF2-40B4-BE49-F238E27FC236}">
                <a16:creationId xmlns:a16="http://schemas.microsoft.com/office/drawing/2014/main" id="{4C1F0A61-D740-14CA-783D-8EDE8AD3C50B}"/>
              </a:ext>
            </a:extLst>
          </p:cNvPr>
          <p:cNvSpPr txBox="1">
            <a:spLocks/>
          </p:cNvSpPr>
          <p:nvPr/>
        </p:nvSpPr>
        <p:spPr>
          <a:xfrm>
            <a:off x="11336787" y="625475"/>
            <a:ext cx="1676400" cy="582852"/>
          </a:xfrm>
          <a:prstGeom prst="rect">
            <a:avLst/>
          </a:prstGeom>
          <a:noFill/>
        </p:spPr>
        <p:txBody>
          <a:bodyPr vert="horz" wrap="square" lIns="0" tIns="13335" rIns="0" bIns="0" rtlCol="0">
            <a:spAutoFit/>
          </a:bodyPr>
          <a:lstStyle>
            <a:lvl1pPr>
              <a:defRPr sz="7200" b="1" i="0">
                <a:solidFill>
                  <a:srgbClr val="1F2055"/>
                </a:solidFill>
                <a:latin typeface="Tahoma"/>
                <a:ea typeface="+mj-ea"/>
                <a:cs typeface="Tahoma"/>
              </a:defRPr>
            </a:lvl1pPr>
          </a:lstStyle>
          <a:p>
            <a:pPr marL="12700" algn="ctr">
              <a:spcBef>
                <a:spcPts val="105"/>
              </a:spcBef>
            </a:pPr>
            <a:r>
              <a:rPr lang="en-US" sz="3700" kern="0">
                <a:solidFill>
                  <a:srgbClr val="002060"/>
                </a:solidFill>
                <a:latin typeface="Tahoma" panose="020B0604030504040204" pitchFamily="34" charset="0"/>
                <a:ea typeface="Tahoma" panose="020B0604030504040204" pitchFamily="34" charset="0"/>
                <a:cs typeface="Tahoma" panose="020B0604030504040204" pitchFamily="34" charset="0"/>
              </a:rPr>
              <a:t>SCOPE</a:t>
            </a:r>
          </a:p>
        </p:txBody>
      </p:sp>
      <p:pic>
        <p:nvPicPr>
          <p:cNvPr id="8" name="Graphic 7">
            <a:extLst>
              <a:ext uri="{FF2B5EF4-FFF2-40B4-BE49-F238E27FC236}">
                <a16:creationId xmlns:a16="http://schemas.microsoft.com/office/drawing/2014/main" id="{D3F871A8-315D-F1C5-9D95-F87DCC2936A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8106842" y="625475"/>
            <a:ext cx="1066800" cy="1066800"/>
          </a:xfrm>
          <a:prstGeom prst="rect">
            <a:avLst/>
          </a:prstGeom>
        </p:spPr>
      </p:pic>
      <p:pic>
        <p:nvPicPr>
          <p:cNvPr id="9" name="Graphic 8">
            <a:extLst>
              <a:ext uri="{FF2B5EF4-FFF2-40B4-BE49-F238E27FC236}">
                <a16:creationId xmlns:a16="http://schemas.microsoft.com/office/drawing/2014/main" id="{3F4E5175-D72D-5912-BF12-4BDAFF6557E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1706" y="10570232"/>
            <a:ext cx="417359" cy="417359"/>
          </a:xfrm>
          <a:prstGeom prst="rect">
            <a:avLst/>
          </a:prstGeom>
        </p:spPr>
      </p:pic>
      <p:pic>
        <p:nvPicPr>
          <p:cNvPr id="10" name="Graphic 9">
            <a:extLst>
              <a:ext uri="{FF2B5EF4-FFF2-40B4-BE49-F238E27FC236}">
                <a16:creationId xmlns:a16="http://schemas.microsoft.com/office/drawing/2014/main" id="{87C9850A-A256-659E-8770-767135C22FC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221142" y="10407650"/>
            <a:ext cx="838200" cy="901700"/>
          </a:xfrm>
          <a:prstGeom prst="rect">
            <a:avLst/>
          </a:prstGeom>
        </p:spPr>
      </p:pic>
      <p:pic>
        <p:nvPicPr>
          <p:cNvPr id="11" name="Graphic 10">
            <a:extLst>
              <a:ext uri="{FF2B5EF4-FFF2-40B4-BE49-F238E27FC236}">
                <a16:creationId xmlns:a16="http://schemas.microsoft.com/office/drawing/2014/main" id="{3192A325-5743-507E-8A18-5DC4885D99E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890252" y="1603783"/>
            <a:ext cx="6494577" cy="3517492"/>
          </a:xfrm>
          <a:prstGeom prst="rect">
            <a:avLst/>
          </a:prstGeom>
        </p:spPr>
      </p:pic>
      <p:sp>
        <p:nvSpPr>
          <p:cNvPr id="5" name="object 3">
            <a:extLst>
              <a:ext uri="{FF2B5EF4-FFF2-40B4-BE49-F238E27FC236}">
                <a16:creationId xmlns:a16="http://schemas.microsoft.com/office/drawing/2014/main" id="{B77ED3AE-AA5E-0A5E-61EF-E6C8DAFE22FF}"/>
              </a:ext>
            </a:extLst>
          </p:cNvPr>
          <p:cNvSpPr txBox="1"/>
          <p:nvPr/>
        </p:nvSpPr>
        <p:spPr>
          <a:xfrm>
            <a:off x="11499850" y="2301875"/>
            <a:ext cx="5269303" cy="2165978"/>
          </a:xfrm>
          <a:prstGeom prst="rect">
            <a:avLst/>
          </a:prstGeom>
        </p:spPr>
        <p:txBody>
          <a:bodyPr vert="horz" wrap="square" lIns="0" tIns="11430" rIns="0" bIns="0" rtlCol="0">
            <a:spAutoFit/>
          </a:bodyPr>
          <a:lstStyle/>
          <a:p>
            <a:pPr marR="59690"/>
            <a:r>
              <a:rPr lang="en-US" sz="2800">
                <a:solidFill>
                  <a:schemeClr val="bg1"/>
                </a:solidFill>
                <a:latin typeface="Tahoma" panose="020B0604030504040204" pitchFamily="34" charset="0"/>
                <a:ea typeface="Tahoma" panose="020B0604030504040204" pitchFamily="34" charset="0"/>
                <a:cs typeface="Tahoma" panose="020B0604030504040204" pitchFamily="34" charset="0"/>
              </a:rPr>
              <a:t>This document is relevant for all educational institutions in the Emirate of Abu Dhabi, including nurseries, KGs, public, private and charter schools.</a:t>
            </a:r>
          </a:p>
        </p:txBody>
      </p:sp>
      <p:pic>
        <p:nvPicPr>
          <p:cNvPr id="12" name="Graphic 11">
            <a:extLst>
              <a:ext uri="{FF2B5EF4-FFF2-40B4-BE49-F238E27FC236}">
                <a16:creationId xmlns:a16="http://schemas.microsoft.com/office/drawing/2014/main" id="{66402B10-77A2-8A8F-D06A-C1B6867CB54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609175" y="1322706"/>
            <a:ext cx="562154" cy="562154"/>
          </a:xfrm>
          <a:prstGeom prst="rect">
            <a:avLst/>
          </a:prstGeom>
        </p:spPr>
      </p:pic>
      <p:pic>
        <p:nvPicPr>
          <p:cNvPr id="15" name="Graphic 14">
            <a:extLst>
              <a:ext uri="{FF2B5EF4-FFF2-40B4-BE49-F238E27FC236}">
                <a16:creationId xmlns:a16="http://schemas.microsoft.com/office/drawing/2014/main" id="{3EC191EC-9F22-2DEC-FF09-45A75DC69F3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874280" y="5881137"/>
            <a:ext cx="1645847" cy="4078838"/>
          </a:xfrm>
          <a:prstGeom prst="rect">
            <a:avLst/>
          </a:prstGeom>
        </p:spPr>
      </p:pic>
      <p:pic>
        <p:nvPicPr>
          <p:cNvPr id="19" name="Graphic 18">
            <a:extLst>
              <a:ext uri="{FF2B5EF4-FFF2-40B4-BE49-F238E27FC236}">
                <a16:creationId xmlns:a16="http://schemas.microsoft.com/office/drawing/2014/main" id="{319AF1CB-FD8C-C2FA-AC02-987C9482941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4841467" y="5748043"/>
            <a:ext cx="2514600" cy="4218940"/>
          </a:xfrm>
          <a:prstGeom prst="rect">
            <a:avLst/>
          </a:prstGeom>
        </p:spPr>
      </p:pic>
      <p:pic>
        <p:nvPicPr>
          <p:cNvPr id="21" name="Graphic 20">
            <a:extLst>
              <a:ext uri="{FF2B5EF4-FFF2-40B4-BE49-F238E27FC236}">
                <a16:creationId xmlns:a16="http://schemas.microsoft.com/office/drawing/2014/main" id="{832AD339-ADE3-63D1-3EB4-1D47676ED37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3172615" y="7328439"/>
            <a:ext cx="1973652" cy="2631536"/>
          </a:xfrm>
          <a:prstGeom prst="rect">
            <a:avLst/>
          </a:prstGeom>
        </p:spPr>
      </p:pic>
    </p:spTree>
    <p:extLst>
      <p:ext uri="{BB962C8B-B14F-4D97-AF65-F5344CB8AC3E}">
        <p14:creationId xmlns:p14="http://schemas.microsoft.com/office/powerpoint/2010/main" val="41532214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4">
            <a:lumMod val="20000"/>
            <a:lumOff val="80000"/>
          </a:schemeClr>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FBC620DF-FFB8-4206-FD2B-D53131BADD3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42911" y="7238187"/>
            <a:ext cx="3809339" cy="4097924"/>
          </a:xfrm>
          <a:prstGeom prst="rect">
            <a:avLst/>
          </a:prstGeom>
        </p:spPr>
      </p:pic>
      <p:pic>
        <p:nvPicPr>
          <p:cNvPr id="5" name="Graphic 4">
            <a:extLst>
              <a:ext uri="{FF2B5EF4-FFF2-40B4-BE49-F238E27FC236}">
                <a16:creationId xmlns:a16="http://schemas.microsoft.com/office/drawing/2014/main" id="{14402A8D-6339-953F-629C-5492A8D7D8F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052050" y="3368675"/>
            <a:ext cx="7406351" cy="7967436"/>
          </a:xfrm>
          <a:prstGeom prst="rect">
            <a:avLst/>
          </a:prstGeom>
        </p:spPr>
      </p:pic>
      <p:sp>
        <p:nvSpPr>
          <p:cNvPr id="2" name="object 2">
            <a:extLst>
              <a:ext uri="{FF2B5EF4-FFF2-40B4-BE49-F238E27FC236}">
                <a16:creationId xmlns:a16="http://schemas.microsoft.com/office/drawing/2014/main" id="{3662DC6D-8449-E4E5-B848-64A1C103A655}"/>
              </a:ext>
            </a:extLst>
          </p:cNvPr>
          <p:cNvSpPr txBox="1">
            <a:spLocks/>
          </p:cNvSpPr>
          <p:nvPr/>
        </p:nvSpPr>
        <p:spPr>
          <a:xfrm>
            <a:off x="679449" y="684201"/>
            <a:ext cx="11506200" cy="512063"/>
          </a:xfrm>
          <a:prstGeom prst="rect">
            <a:avLst/>
          </a:prstGeom>
        </p:spPr>
        <p:txBody>
          <a:bodyPr vert="horz" wrap="square" lIns="0" tIns="1333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spcBef>
                <a:spcPts val="114"/>
              </a:spcBef>
            </a:pPr>
            <a:r>
              <a:rPr lang="en-US" sz="3600" b="1">
                <a:solidFill>
                  <a:srgbClr val="1F2055"/>
                </a:solidFill>
                <a:latin typeface="Tahoma"/>
                <a:cs typeface="Tahoma"/>
              </a:rPr>
              <a:t>ACRONYMS</a:t>
            </a:r>
            <a:endParaRPr lang="en-US" sz="3600" b="1">
              <a:latin typeface="Tahoma"/>
              <a:cs typeface="Tahoma"/>
            </a:endParaRPr>
          </a:p>
        </p:txBody>
      </p:sp>
      <p:sp>
        <p:nvSpPr>
          <p:cNvPr id="15" name="object 22">
            <a:extLst>
              <a:ext uri="{FF2B5EF4-FFF2-40B4-BE49-F238E27FC236}">
                <a16:creationId xmlns:a16="http://schemas.microsoft.com/office/drawing/2014/main" id="{CE9A82B8-C3CD-B539-FA34-8A812D02C80A}"/>
              </a:ext>
            </a:extLst>
          </p:cNvPr>
          <p:cNvSpPr txBox="1"/>
          <p:nvPr/>
        </p:nvSpPr>
        <p:spPr>
          <a:xfrm>
            <a:off x="679449" y="1869568"/>
            <a:ext cx="10210801" cy="5004307"/>
          </a:xfrm>
          <a:prstGeom prst="rect">
            <a:avLst/>
          </a:prstGeom>
        </p:spPr>
        <p:txBody>
          <a:bodyPr vert="horz" wrap="none" lIns="0" tIns="12065" rIns="0" bIns="0" numCol="1" rtlCol="0">
            <a:noAutofit/>
          </a:bodyPr>
          <a:lstStyle/>
          <a:p>
            <a:pPr marL="297815" marR="154305" indent="-285750">
              <a:lnSpc>
                <a:spcPct val="150000"/>
              </a:lnSpc>
              <a:spcBef>
                <a:spcPts val="200"/>
              </a:spcBef>
              <a:buFont typeface="Arial" panose="020B0604020202020204" pitchFamily="34" charset="0"/>
              <a:buChar char="•"/>
              <a:tabLst>
                <a:tab pos="283210" algn="l"/>
                <a:tab pos="283845" algn="l"/>
              </a:tabLst>
            </a:pPr>
            <a:r>
              <a:rPr lang="en-US" sz="2800" b="1" err="1">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MoE</a:t>
            </a:r>
            <a:r>
              <a:rPr lang="en-US" sz="28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UAE Ministry of Education</a:t>
            </a:r>
          </a:p>
          <a:p>
            <a:pPr marL="297815" marR="154305" indent="-285750">
              <a:lnSpc>
                <a:spcPct val="150000"/>
              </a:lnSpc>
              <a:spcBef>
                <a:spcPts val="200"/>
              </a:spcBef>
              <a:buFont typeface="Arial" panose="020B0604020202020204" pitchFamily="34" charset="0"/>
              <a:buChar char="•"/>
              <a:tabLst>
                <a:tab pos="283210" algn="l"/>
                <a:tab pos="283845" algn="l"/>
              </a:tabLst>
            </a:pPr>
            <a:r>
              <a:rPr lang="en-US" sz="2800" b="1">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ADEK</a:t>
            </a:r>
            <a:r>
              <a:rPr lang="en-US" sz="28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Abu Dhabi Department of Education and Knowledge</a:t>
            </a:r>
          </a:p>
          <a:p>
            <a:pPr marL="297815" marR="154305" indent="-285750">
              <a:lnSpc>
                <a:spcPct val="150000"/>
              </a:lnSpc>
              <a:spcBef>
                <a:spcPts val="200"/>
              </a:spcBef>
              <a:buFont typeface="Arial" panose="020B0604020202020204" pitchFamily="34" charset="0"/>
              <a:buChar char="•"/>
              <a:tabLst>
                <a:tab pos="283210" algn="l"/>
                <a:tab pos="283845" algn="l"/>
              </a:tabLst>
            </a:pPr>
            <a:r>
              <a:rPr lang="en-US" sz="2800" b="1" err="1">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MoI</a:t>
            </a:r>
            <a:r>
              <a:rPr lang="en-US" sz="2800" b="1">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CPC</a:t>
            </a:r>
            <a:r>
              <a:rPr lang="en-US" sz="28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Ministry of Interior – Child Protection Center</a:t>
            </a:r>
          </a:p>
          <a:p>
            <a:pPr marL="297815" marR="154305" indent="-285750">
              <a:lnSpc>
                <a:spcPct val="150000"/>
              </a:lnSpc>
              <a:spcBef>
                <a:spcPts val="200"/>
              </a:spcBef>
              <a:buFont typeface="Arial" panose="020B0604020202020204" pitchFamily="34" charset="0"/>
              <a:buChar char="•"/>
              <a:tabLst>
                <a:tab pos="283210" algn="l"/>
                <a:tab pos="283845" algn="l"/>
              </a:tabLst>
            </a:pPr>
            <a:r>
              <a:rPr lang="en-US" sz="2800" b="1">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CPS</a:t>
            </a:r>
            <a:r>
              <a:rPr lang="en-US" sz="28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Child Protection Specialist</a:t>
            </a:r>
          </a:p>
          <a:p>
            <a:pPr marL="297815" marR="154305" indent="-285750">
              <a:lnSpc>
                <a:spcPct val="150000"/>
              </a:lnSpc>
              <a:spcBef>
                <a:spcPts val="200"/>
              </a:spcBef>
              <a:buFont typeface="Arial" panose="020B0604020202020204" pitchFamily="34" charset="0"/>
              <a:buChar char="•"/>
              <a:tabLst>
                <a:tab pos="283210" algn="l"/>
                <a:tab pos="283845" algn="l"/>
              </a:tabLst>
            </a:pPr>
            <a:r>
              <a:rPr lang="en-US" sz="2800" b="1">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CPT</a:t>
            </a:r>
            <a:r>
              <a:rPr lang="en-US" sz="28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Child Protection Team</a:t>
            </a:r>
          </a:p>
          <a:p>
            <a:pPr marL="297815" marR="154305" indent="-285750">
              <a:lnSpc>
                <a:spcPct val="150000"/>
              </a:lnSpc>
              <a:spcBef>
                <a:spcPts val="200"/>
              </a:spcBef>
              <a:buFont typeface="Arial" panose="020B0604020202020204" pitchFamily="34" charset="0"/>
              <a:buChar char="•"/>
              <a:tabLst>
                <a:tab pos="283210" algn="l"/>
                <a:tab pos="283845" algn="l"/>
              </a:tabLst>
            </a:pPr>
            <a:r>
              <a:rPr lang="en-US" sz="2800" b="1">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CPC: </a:t>
            </a:r>
            <a:r>
              <a:rPr lang="en-US" sz="28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Child Protection Coordinator </a:t>
            </a:r>
          </a:p>
          <a:p>
            <a:pPr marL="297815" marR="154305" indent="-285750">
              <a:lnSpc>
                <a:spcPct val="150000"/>
              </a:lnSpc>
              <a:spcBef>
                <a:spcPts val="200"/>
              </a:spcBef>
              <a:buFont typeface="Arial" panose="020B0604020202020204" pitchFamily="34" charset="0"/>
              <a:buChar char="•"/>
              <a:tabLst>
                <a:tab pos="283210" algn="l"/>
                <a:tab pos="283845" algn="l"/>
              </a:tabLst>
            </a:pPr>
            <a:r>
              <a:rPr lang="en-US" sz="2800" b="1">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CPU: </a:t>
            </a:r>
            <a:r>
              <a:rPr lang="en-US" sz="28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Child Protection Unit</a:t>
            </a:r>
          </a:p>
          <a:p>
            <a:pPr marL="297815" marR="154305" indent="-285750">
              <a:lnSpc>
                <a:spcPct val="150000"/>
              </a:lnSpc>
              <a:spcBef>
                <a:spcPts val="200"/>
              </a:spcBef>
              <a:buFont typeface="Arial" panose="020B0604020202020204" pitchFamily="34" charset="0"/>
              <a:buChar char="•"/>
              <a:tabLst>
                <a:tab pos="283210" algn="l"/>
                <a:tab pos="283845" algn="l"/>
              </a:tabLst>
            </a:pPr>
            <a:r>
              <a:rPr lang="en-US" sz="2800" b="1">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FCA</a:t>
            </a:r>
            <a:r>
              <a:rPr lang="en-US" sz="28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 Family Care Authority</a:t>
            </a:r>
          </a:p>
        </p:txBody>
      </p:sp>
      <p:pic>
        <p:nvPicPr>
          <p:cNvPr id="12" name="Graphic 11">
            <a:extLst>
              <a:ext uri="{FF2B5EF4-FFF2-40B4-BE49-F238E27FC236}">
                <a16:creationId xmlns:a16="http://schemas.microsoft.com/office/drawing/2014/main" id="{D9418E41-C46A-7DFB-C07D-94ACC14EAF2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498938" y="6037239"/>
            <a:ext cx="4925713" cy="5298872"/>
          </a:xfrm>
          <a:prstGeom prst="rect">
            <a:avLst/>
          </a:prstGeom>
        </p:spPr>
      </p:pic>
      <p:pic>
        <p:nvPicPr>
          <p:cNvPr id="4" name="Graphic 3">
            <a:extLst>
              <a:ext uri="{FF2B5EF4-FFF2-40B4-BE49-F238E27FC236}">
                <a16:creationId xmlns:a16="http://schemas.microsoft.com/office/drawing/2014/main" id="{96C31C84-7503-70B5-FA59-C917D1BBAAC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983676" y="5998686"/>
            <a:ext cx="3249974" cy="5298871"/>
          </a:xfrm>
          <a:prstGeom prst="rect">
            <a:avLst/>
          </a:prstGeom>
        </p:spPr>
      </p:pic>
    </p:spTree>
    <p:extLst>
      <p:ext uri="{BB962C8B-B14F-4D97-AF65-F5344CB8AC3E}">
        <p14:creationId xmlns:p14="http://schemas.microsoft.com/office/powerpoint/2010/main" val="27301570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4">
            <a:lumMod val="20000"/>
            <a:lumOff val="80000"/>
          </a:schemeClr>
        </a:solidFill>
        <a:effectLst/>
      </p:bgPr>
    </p:bg>
    <p:spTree>
      <p:nvGrpSpPr>
        <p:cNvPr id="1" name=""/>
        <p:cNvGrpSpPr/>
        <p:nvPr/>
      </p:nvGrpSpPr>
      <p:grpSpPr>
        <a:xfrm>
          <a:off x="0" y="0"/>
          <a:ext cx="0" cy="0"/>
          <a:chOff x="0" y="0"/>
          <a:chExt cx="0" cy="0"/>
        </a:xfrm>
      </p:grpSpPr>
      <p:pic>
        <p:nvPicPr>
          <p:cNvPr id="30" name="Graphic 29">
            <a:extLst>
              <a:ext uri="{FF2B5EF4-FFF2-40B4-BE49-F238E27FC236}">
                <a16:creationId xmlns:a16="http://schemas.microsoft.com/office/drawing/2014/main" id="{34F0B218-3351-0797-F886-81E452738E5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6200000">
            <a:off x="18480485" y="95621"/>
            <a:ext cx="1564359" cy="1682871"/>
          </a:xfrm>
          <a:prstGeom prst="rect">
            <a:avLst/>
          </a:prstGeom>
        </p:spPr>
      </p:pic>
      <p:sp>
        <p:nvSpPr>
          <p:cNvPr id="15" name="object 22">
            <a:extLst>
              <a:ext uri="{FF2B5EF4-FFF2-40B4-BE49-F238E27FC236}">
                <a16:creationId xmlns:a16="http://schemas.microsoft.com/office/drawing/2014/main" id="{CE9A82B8-C3CD-B539-FA34-8A812D02C80A}"/>
              </a:ext>
            </a:extLst>
          </p:cNvPr>
          <p:cNvSpPr txBox="1"/>
          <p:nvPr/>
        </p:nvSpPr>
        <p:spPr>
          <a:xfrm>
            <a:off x="679449" y="1638708"/>
            <a:ext cx="18821401" cy="9084129"/>
          </a:xfrm>
          <a:prstGeom prst="rect">
            <a:avLst/>
          </a:prstGeom>
        </p:spPr>
        <p:txBody>
          <a:bodyPr vert="horz" wrap="none" lIns="0" tIns="12065" rIns="0" bIns="0" numCol="2" rtlCol="0">
            <a:noAutofit/>
          </a:bodyPr>
          <a:lstStyle/>
          <a:p>
            <a:pPr marL="297815" indent="-285750">
              <a:lnSpc>
                <a:spcPct val="100000"/>
              </a:lnSpc>
              <a:spcBef>
                <a:spcPts val="1000"/>
              </a:spcBef>
              <a:buFont typeface="Arial" panose="020B0604020202020204" pitchFamily="34" charset="0"/>
              <a:buChar char="•"/>
              <a:tabLst>
                <a:tab pos="283210" algn="l"/>
                <a:tab pos="283845" algn="l"/>
              </a:tabLst>
            </a:pPr>
            <a:r>
              <a:rPr lang="en-US">
                <a:solidFill>
                  <a:schemeClr val="tx1">
                    <a:lumMod val="65000"/>
                    <a:lumOff val="35000"/>
                  </a:schemeClr>
                </a:solidFill>
                <a:latin typeface="Arial Unicode MS"/>
                <a:cs typeface="Arial Unicode MS"/>
              </a:rPr>
              <a:t>A </a:t>
            </a:r>
            <a:r>
              <a:rPr lang="en-US" b="1">
                <a:solidFill>
                  <a:schemeClr val="tx1">
                    <a:lumMod val="65000"/>
                    <a:lumOff val="35000"/>
                  </a:schemeClr>
                </a:solidFill>
                <a:latin typeface="Tahoma"/>
                <a:cs typeface="Tahoma"/>
              </a:rPr>
              <a:t>Child </a:t>
            </a:r>
            <a:r>
              <a:rPr lang="en-US">
                <a:solidFill>
                  <a:schemeClr val="tx1">
                    <a:lumMod val="65000"/>
                    <a:lumOff val="35000"/>
                  </a:schemeClr>
                </a:solidFill>
                <a:latin typeface="Arial Unicode MS"/>
                <a:cs typeface="Arial Unicode MS"/>
              </a:rPr>
              <a:t>is every human being born alive who is under eighteen years of age</a:t>
            </a:r>
          </a:p>
          <a:p>
            <a:pPr marL="297815" indent="-285750">
              <a:lnSpc>
                <a:spcPct val="100000"/>
              </a:lnSpc>
              <a:spcBef>
                <a:spcPts val="1000"/>
              </a:spcBef>
              <a:buFont typeface="Arial" panose="020B0604020202020204" pitchFamily="34" charset="0"/>
              <a:buChar char="•"/>
              <a:tabLst>
                <a:tab pos="283210" algn="l"/>
                <a:tab pos="283845" algn="l"/>
              </a:tabLst>
            </a:pPr>
            <a:r>
              <a:rPr lang="en-US">
                <a:solidFill>
                  <a:schemeClr val="tx1">
                    <a:lumMod val="65000"/>
                    <a:lumOff val="35000"/>
                  </a:schemeClr>
                </a:solidFill>
                <a:latin typeface="Arial Unicode MS"/>
                <a:cs typeface="Arial Unicode MS"/>
              </a:rPr>
              <a:t>A </a:t>
            </a:r>
            <a:r>
              <a:rPr lang="en-US" b="1">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Child Protection Coordinator (CPC)</a:t>
            </a:r>
            <a:r>
              <a:rPr lang="en-US">
                <a:solidFill>
                  <a:schemeClr val="tx1">
                    <a:lumMod val="65000"/>
                    <a:lumOff val="35000"/>
                  </a:schemeClr>
                </a:solidFill>
                <a:latin typeface="Arial Unicode MS"/>
                <a:cs typeface="Arial Unicode MS"/>
              </a:rPr>
              <a:t> is an appointed staff member at the educational institution who is professionally trained and equipped with skills to act upon child protection concerns that arise within their institution and is the key contact for staff and authorities where a concern is identified within the institution. They should also be the point of contact for the institution and authorities</a:t>
            </a:r>
            <a:r>
              <a:rPr lang="en-US">
                <a:solidFill>
                  <a:schemeClr val="tx1">
                    <a:lumMod val="65000"/>
                    <a:lumOff val="35000"/>
                  </a:schemeClr>
                </a:solidFill>
                <a:latin typeface="Arial Unicode MS"/>
              </a:rPr>
              <a:t> when potential concerns are identified in schools, and report to the CPU and other authorities involved, liaise with parents, and provide ongoing support to the child.</a:t>
            </a:r>
          </a:p>
          <a:p>
            <a:pPr marL="297815" indent="-285750">
              <a:lnSpc>
                <a:spcPct val="100000"/>
              </a:lnSpc>
              <a:spcBef>
                <a:spcPts val="1000"/>
              </a:spcBef>
              <a:buFont typeface="Arial" panose="020B0604020202020204" pitchFamily="34" charset="0"/>
              <a:buChar char="•"/>
              <a:tabLst>
                <a:tab pos="283210" algn="l"/>
                <a:tab pos="283845" algn="l"/>
              </a:tabLst>
            </a:pPr>
            <a:r>
              <a:rPr lang="en-US">
                <a:solidFill>
                  <a:schemeClr val="tx1">
                    <a:lumMod val="65000"/>
                    <a:lumOff val="35000"/>
                  </a:schemeClr>
                </a:solidFill>
                <a:latin typeface="Arial Unicode MS"/>
                <a:cs typeface="Arial Unicode MS"/>
              </a:rPr>
              <a:t>A </a:t>
            </a:r>
            <a:r>
              <a:rPr lang="en-US" b="1">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Child Protection Unit (CPU)</a:t>
            </a:r>
            <a:r>
              <a:rPr lang="en-US">
                <a:solidFill>
                  <a:schemeClr val="tx1">
                    <a:lumMod val="65000"/>
                    <a:lumOff val="35000"/>
                  </a:schemeClr>
                </a:solidFill>
                <a:latin typeface="Arial Unicode MS"/>
                <a:cs typeface="Arial Unicode MS"/>
              </a:rPr>
              <a:t> is an organizational unit at authorities and entities concerned with children affairs (such as </a:t>
            </a:r>
            <a:r>
              <a:rPr lang="en-US" err="1">
                <a:solidFill>
                  <a:schemeClr val="tx1">
                    <a:lumMod val="65000"/>
                    <a:lumOff val="35000"/>
                  </a:schemeClr>
                </a:solidFill>
                <a:latin typeface="Arial Unicode MS"/>
                <a:cs typeface="Arial Unicode MS"/>
              </a:rPr>
              <a:t>MoE</a:t>
            </a:r>
            <a:r>
              <a:rPr lang="en-US">
                <a:solidFill>
                  <a:schemeClr val="tx1">
                    <a:lumMod val="65000"/>
                    <a:lumOff val="35000"/>
                  </a:schemeClr>
                </a:solidFill>
                <a:latin typeface="Arial Unicode MS"/>
                <a:cs typeface="Arial Unicode MS"/>
              </a:rPr>
              <a:t> and ADEK at Abu Dhabi Emirate in the education sector) in the education sector in Abu Dhabi the CPU’s purpose is to develop and implement student protection mechanisms and measures in line with Federal Law No. (3) of 2016 Concerning Child Rights and bylaws. The CPU is responsible for receiving and assessing concerns related to </a:t>
            </a:r>
            <a:r>
              <a:rPr lang="en-US" sz="18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threats to children’s physical, psychological, moral, or mental well-being</a:t>
            </a:r>
            <a:r>
              <a:rPr lang="en-US">
                <a:solidFill>
                  <a:schemeClr val="tx1">
                    <a:lumMod val="65000"/>
                    <a:lumOff val="35000"/>
                  </a:schemeClr>
                </a:solidFill>
                <a:latin typeface="Arial Unicode MS"/>
                <a:cs typeface="Arial Unicode MS"/>
              </a:rPr>
              <a:t>, in line with the procedures detailed in this policy.</a:t>
            </a:r>
          </a:p>
          <a:p>
            <a:pPr marL="297815" indent="-285750">
              <a:lnSpc>
                <a:spcPct val="100000"/>
              </a:lnSpc>
              <a:spcBef>
                <a:spcPts val="1000"/>
              </a:spcBef>
              <a:buFont typeface="Arial" panose="020B0604020202020204" pitchFamily="34" charset="0"/>
              <a:buChar char="•"/>
              <a:tabLst>
                <a:tab pos="283210" algn="l"/>
                <a:tab pos="283845" algn="l"/>
              </a:tabLst>
            </a:pPr>
            <a:r>
              <a:rPr lang="en-US">
                <a:solidFill>
                  <a:schemeClr val="tx1">
                    <a:lumMod val="65000"/>
                    <a:lumOff val="35000"/>
                  </a:schemeClr>
                </a:solidFill>
                <a:latin typeface="Arial Unicode MS"/>
                <a:cs typeface="Arial Unicode MS"/>
              </a:rPr>
              <a:t>A </a:t>
            </a:r>
            <a:r>
              <a:rPr lang="en-US" b="1">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Child Protection Specialist (CPS)</a:t>
            </a:r>
            <a:r>
              <a:rPr lang="en-US">
                <a:solidFill>
                  <a:schemeClr val="tx1">
                    <a:lumMod val="65000"/>
                    <a:lumOff val="35000"/>
                  </a:schemeClr>
                </a:solidFill>
                <a:latin typeface="Arial Unicode MS"/>
                <a:cs typeface="Arial Unicode MS"/>
              </a:rPr>
              <a:t> </a:t>
            </a:r>
            <a:r>
              <a:rPr lang="en-US">
                <a:solidFill>
                  <a:schemeClr val="tx1">
                    <a:lumMod val="65000"/>
                    <a:lumOff val="35000"/>
                  </a:schemeClr>
                </a:solidFill>
                <a:latin typeface="Arial Unicode MS"/>
              </a:rPr>
              <a:t>in the educational environment is the person authorized and designated by </a:t>
            </a:r>
            <a:r>
              <a:rPr lang="en-US" err="1">
                <a:solidFill>
                  <a:schemeClr val="tx1">
                    <a:lumMod val="65000"/>
                    <a:lumOff val="35000"/>
                  </a:schemeClr>
                </a:solidFill>
                <a:latin typeface="Arial Unicode MS"/>
              </a:rPr>
              <a:t>MoE</a:t>
            </a:r>
            <a:r>
              <a:rPr lang="en-US">
                <a:solidFill>
                  <a:schemeClr val="tx1">
                    <a:lumMod val="65000"/>
                    <a:lumOff val="35000"/>
                  </a:schemeClr>
                </a:solidFill>
                <a:latin typeface="Arial Unicode MS"/>
              </a:rPr>
              <a:t>, ADEK, and the Abu Dhabi Judicial Department and the Ministry of Community Development in the Emirate of Abu Dhabi to preserve the rights of the child and protect him within the limits of his powers, in accordance with Federal Law No. (3) of 2016 Concerning Child Rights and bylaws.</a:t>
            </a:r>
          </a:p>
          <a:p>
            <a:pPr marL="297815" marR="106680" indent="-285750">
              <a:lnSpc>
                <a:spcPct val="102299"/>
              </a:lnSpc>
              <a:spcBef>
                <a:spcPts val="1000"/>
              </a:spcBef>
              <a:buFont typeface="Arial" panose="020B0604020202020204" pitchFamily="34" charset="0"/>
              <a:buChar char="•"/>
              <a:tabLst>
                <a:tab pos="283210" algn="l"/>
                <a:tab pos="283845" algn="l"/>
              </a:tabLst>
            </a:pPr>
            <a:r>
              <a:rPr>
                <a:solidFill>
                  <a:schemeClr val="tx1">
                    <a:lumMod val="65000"/>
                    <a:lumOff val="35000"/>
                  </a:schemeClr>
                </a:solidFill>
                <a:latin typeface="Arial Unicode MS"/>
                <a:cs typeface="Arial Unicode MS"/>
              </a:rPr>
              <a:t>An </a:t>
            </a:r>
            <a:r>
              <a:rPr b="1">
                <a:solidFill>
                  <a:schemeClr val="tx1">
                    <a:lumMod val="65000"/>
                    <a:lumOff val="35000"/>
                  </a:schemeClr>
                </a:solidFill>
                <a:latin typeface="Tahoma"/>
                <a:cs typeface="Tahoma"/>
              </a:rPr>
              <a:t>educational institution</a:t>
            </a:r>
            <a:r>
              <a:rPr lang="en-US" b="1">
                <a:solidFill>
                  <a:schemeClr val="tx1">
                    <a:lumMod val="65000"/>
                    <a:lumOff val="35000"/>
                  </a:schemeClr>
                </a:solidFill>
                <a:latin typeface="Tahoma"/>
                <a:cs typeface="Tahoma"/>
              </a:rPr>
              <a:t> </a:t>
            </a:r>
            <a:r>
              <a:rPr lang="en-US">
                <a:solidFill>
                  <a:schemeClr val="tx1">
                    <a:lumMod val="65000"/>
                    <a:lumOff val="35000"/>
                  </a:schemeClr>
                </a:solidFill>
                <a:latin typeface="Arial Unicode MS"/>
                <a:cs typeface="Tahoma"/>
              </a:rPr>
              <a:t>is t</a:t>
            </a:r>
            <a:r>
              <a:rPr lang="en-US">
                <a:solidFill>
                  <a:schemeClr val="tx1">
                    <a:lumMod val="65000"/>
                    <a:lumOff val="35000"/>
                  </a:schemeClr>
                </a:solidFill>
                <a:latin typeface="Arial Unicode MS"/>
                <a:cs typeface="Arial Unicode MS"/>
              </a:rPr>
              <a:t>he governmental or private institution where the student is enrolled in education cycles within the State and under the supervision of the Ministry or the educational entity.</a:t>
            </a:r>
          </a:p>
          <a:p>
            <a:pPr marL="297815" marR="106680" indent="-285750">
              <a:lnSpc>
                <a:spcPct val="102299"/>
              </a:lnSpc>
              <a:spcBef>
                <a:spcPts val="1000"/>
              </a:spcBef>
              <a:buFont typeface="Arial" panose="020B0604020202020204" pitchFamily="34" charset="0"/>
              <a:buChar char="•"/>
              <a:tabLst>
                <a:tab pos="283210" algn="l"/>
                <a:tab pos="283845" algn="l"/>
              </a:tabLst>
            </a:pPr>
            <a:r>
              <a:rPr lang="en-US">
                <a:solidFill>
                  <a:schemeClr val="tx1">
                    <a:lumMod val="65000"/>
                    <a:lumOff val="35000"/>
                  </a:schemeClr>
                </a:solidFill>
                <a:latin typeface="Arial Unicode MS"/>
                <a:cs typeface="Arial Unicode MS"/>
              </a:rPr>
              <a:t>A </a:t>
            </a:r>
            <a:r>
              <a:rPr lang="en-US" b="1">
                <a:solidFill>
                  <a:schemeClr val="tx1">
                    <a:lumMod val="65000"/>
                    <a:lumOff val="35000"/>
                  </a:schemeClr>
                </a:solidFill>
                <a:latin typeface="Tahoma"/>
                <a:cs typeface="Tahoma"/>
              </a:rPr>
              <a:t>mandated reporter </a:t>
            </a:r>
            <a:r>
              <a:rPr lang="en-US">
                <a:solidFill>
                  <a:schemeClr val="tx1">
                    <a:lumMod val="65000"/>
                    <a:lumOff val="35000"/>
                  </a:schemeClr>
                </a:solidFill>
                <a:latin typeface="Arial Unicode MS"/>
                <a:cs typeface="Arial Unicode MS"/>
              </a:rPr>
              <a:t>is a person who is required by law (under Article 42 of Federal Law No. 3) to report student concerns of maltreatment related to students to the Child Protection Specialist. This includes FCA, the educators in educational institutions or any adult on institution premises or outside the institution premises from which the student requests assistance in notifying the authorities (e.g., the Police, </a:t>
            </a:r>
            <a:r>
              <a:rPr lang="en-US" err="1">
                <a:solidFill>
                  <a:schemeClr val="tx1">
                    <a:lumMod val="65000"/>
                    <a:lumOff val="35000"/>
                  </a:schemeClr>
                </a:solidFill>
                <a:latin typeface="Arial Unicode MS"/>
                <a:cs typeface="Arial Unicode MS"/>
              </a:rPr>
              <a:t>MoI</a:t>
            </a:r>
            <a:r>
              <a:rPr lang="en-US">
                <a:solidFill>
                  <a:schemeClr val="tx1">
                    <a:lumMod val="65000"/>
                    <a:lumOff val="35000"/>
                  </a:schemeClr>
                </a:solidFill>
                <a:latin typeface="Arial Unicode MS"/>
                <a:cs typeface="Arial Unicode MS"/>
              </a:rPr>
              <a:t>-CPC, </a:t>
            </a:r>
            <a:r>
              <a:rPr lang="en-US" err="1">
                <a:solidFill>
                  <a:schemeClr val="tx1">
                    <a:lumMod val="65000"/>
                    <a:lumOff val="35000"/>
                  </a:schemeClr>
                </a:solidFill>
                <a:latin typeface="Arial Unicode MS"/>
                <a:cs typeface="Arial Unicode MS"/>
              </a:rPr>
              <a:t>MoE</a:t>
            </a:r>
            <a:r>
              <a:rPr lang="en-US">
                <a:solidFill>
                  <a:schemeClr val="tx1">
                    <a:lumMod val="65000"/>
                    <a:lumOff val="35000"/>
                  </a:schemeClr>
                </a:solidFill>
                <a:latin typeface="Arial Unicode MS"/>
                <a:cs typeface="Arial Unicode MS"/>
              </a:rPr>
              <a:t>, and ADEK in Abu Dhabi) about his/her suffering or any other student’s suffering.</a:t>
            </a:r>
          </a:p>
          <a:p>
            <a:pPr marL="297815" marR="503555" indent="-285750">
              <a:lnSpc>
                <a:spcPct val="102299"/>
              </a:lnSpc>
              <a:spcBef>
                <a:spcPts val="1000"/>
              </a:spcBef>
              <a:buFont typeface="Arial" panose="020B0604020202020204" pitchFamily="34" charset="0"/>
              <a:buChar char="•"/>
              <a:tabLst>
                <a:tab pos="283210" algn="l"/>
                <a:tab pos="283845" algn="l"/>
              </a:tabLst>
            </a:pPr>
            <a:r>
              <a:rPr lang="en-US" b="1">
                <a:solidFill>
                  <a:schemeClr val="tx1">
                    <a:lumMod val="65000"/>
                    <a:lumOff val="35000"/>
                  </a:schemeClr>
                </a:solidFill>
                <a:latin typeface="Arial Unicode MS"/>
                <a:cs typeface="Arial Unicode MS"/>
              </a:rPr>
              <a:t>Parent </a:t>
            </a:r>
            <a:r>
              <a:rPr lang="en-US">
                <a:solidFill>
                  <a:schemeClr val="tx1">
                    <a:lumMod val="65000"/>
                    <a:lumOff val="35000"/>
                  </a:schemeClr>
                </a:solidFill>
                <a:latin typeface="Arial Unicode MS"/>
                <a:cs typeface="Arial Unicode MS"/>
              </a:rPr>
              <a:t>is the person legally liable for a child or entrusted with their care, defined as the custodian of the child as per the Federal Decree Law No. 3 of 2016 Concerning Child Rights. (Wadeema’s Law).</a:t>
            </a:r>
          </a:p>
          <a:p>
            <a:pPr marL="297815" marR="503555" indent="-285750">
              <a:lnSpc>
                <a:spcPct val="102299"/>
              </a:lnSpc>
              <a:spcBef>
                <a:spcPts val="1000"/>
              </a:spcBef>
              <a:buFont typeface="Arial" panose="020B0604020202020204" pitchFamily="34" charset="0"/>
              <a:buChar char="•"/>
              <a:tabLst>
                <a:tab pos="283210" algn="l"/>
                <a:tab pos="283845" algn="l"/>
              </a:tabLst>
            </a:pPr>
            <a:r>
              <a:rPr lang="en-US" b="1">
                <a:solidFill>
                  <a:schemeClr val="tx1">
                    <a:lumMod val="65000"/>
                    <a:lumOff val="35000"/>
                  </a:schemeClr>
                </a:solidFill>
                <a:latin typeface="Arial Unicode MS"/>
                <a:cs typeface="Arial Unicode MS"/>
              </a:rPr>
              <a:t>Staff </a:t>
            </a:r>
            <a:r>
              <a:rPr lang="en-US">
                <a:solidFill>
                  <a:schemeClr val="tx1">
                    <a:lumMod val="65000"/>
                    <a:lumOff val="35000"/>
                  </a:schemeClr>
                </a:solidFill>
                <a:latin typeface="Arial Unicode MS"/>
                <a:cs typeface="Arial Unicode MS"/>
              </a:rPr>
              <a:t>are individuals employed by a school or nursery on a remunerated contractual basis regardless of employment mode (internal, external/third-party, etc.).</a:t>
            </a:r>
          </a:p>
          <a:p>
            <a:pPr marL="297815" indent="-285750">
              <a:spcBef>
                <a:spcPts val="1000"/>
              </a:spcBef>
              <a:buFont typeface="Arial" panose="020B0604020202020204" pitchFamily="34" charset="0"/>
              <a:buChar char="•"/>
              <a:tabLst>
                <a:tab pos="283210" algn="l"/>
                <a:tab pos="283845" algn="l"/>
              </a:tabLst>
            </a:pPr>
            <a:r>
              <a:rPr lang="en-US">
                <a:solidFill>
                  <a:schemeClr val="tx1">
                    <a:lumMod val="65000"/>
                    <a:lumOff val="35000"/>
                  </a:schemeClr>
                </a:solidFill>
                <a:latin typeface="Arial Unicode MS"/>
                <a:cs typeface="Arial Unicode MS"/>
              </a:rPr>
              <a:t>A </a:t>
            </a:r>
            <a:r>
              <a:rPr lang="en-US" b="1">
                <a:solidFill>
                  <a:schemeClr val="tx1">
                    <a:lumMod val="65000"/>
                    <a:lumOff val="35000"/>
                  </a:schemeClr>
                </a:solidFill>
                <a:latin typeface="Tahoma"/>
                <a:cs typeface="Tahoma"/>
              </a:rPr>
              <a:t>school day </a:t>
            </a:r>
            <a:r>
              <a:rPr lang="en-US">
                <a:solidFill>
                  <a:schemeClr val="tx1">
                    <a:lumMod val="65000"/>
                    <a:lumOff val="35000"/>
                  </a:schemeClr>
                </a:solidFill>
                <a:latin typeface="Arial Unicode MS"/>
                <a:cs typeface="Arial Unicode MS"/>
              </a:rPr>
              <a:t>is the education institution’s operating hours including time spent by the student in school buses to and from the school and in extra-curricular school activities.</a:t>
            </a:r>
          </a:p>
          <a:p>
            <a:pPr marL="297815" indent="-285750">
              <a:spcBef>
                <a:spcPts val="1000"/>
              </a:spcBef>
              <a:buFont typeface="Arial" panose="020B0604020202020204" pitchFamily="34" charset="0"/>
              <a:buChar char="•"/>
              <a:tabLst>
                <a:tab pos="283210" algn="l"/>
                <a:tab pos="283845" algn="l"/>
              </a:tabLst>
            </a:pPr>
            <a:r>
              <a:rPr lang="en-US">
                <a:solidFill>
                  <a:schemeClr val="tx1">
                    <a:lumMod val="65000"/>
                    <a:lumOff val="35000"/>
                  </a:schemeClr>
                </a:solidFill>
                <a:latin typeface="Arial Unicode MS"/>
                <a:cs typeface="Arial Unicode MS"/>
              </a:rPr>
              <a:t>A </a:t>
            </a:r>
            <a:r>
              <a:rPr lang="en-US" b="1">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student</a:t>
            </a:r>
            <a:r>
              <a:rPr lang="en-US">
                <a:solidFill>
                  <a:schemeClr val="tx1">
                    <a:lumMod val="65000"/>
                    <a:lumOff val="35000"/>
                  </a:schemeClr>
                </a:solidFill>
                <a:latin typeface="Arial Unicode MS"/>
                <a:cs typeface="Arial Unicode MS"/>
              </a:rPr>
              <a:t> under this policy is an Emirati or a resident who is enrolled in an educational institution in Abu Dhabi.</a:t>
            </a:r>
          </a:p>
          <a:p>
            <a:pPr marL="297815" indent="-285750">
              <a:spcBef>
                <a:spcPts val="1000"/>
              </a:spcBef>
              <a:buFont typeface="Arial" panose="020B0604020202020204" pitchFamily="34" charset="0"/>
              <a:buChar char="•"/>
              <a:tabLst>
                <a:tab pos="283210" algn="l"/>
                <a:tab pos="283845" algn="l"/>
              </a:tabLst>
            </a:pPr>
            <a:r>
              <a:rPr lang="en-US" b="1">
                <a:solidFill>
                  <a:schemeClr val="tx1">
                    <a:lumMod val="65000"/>
                    <a:lumOff val="35000"/>
                  </a:schemeClr>
                </a:solidFill>
                <a:latin typeface="Arial Unicode MS"/>
                <a:cs typeface="Arial Unicode MS"/>
              </a:rPr>
              <a:t>Safeguarding </a:t>
            </a:r>
            <a:r>
              <a:rPr lang="en-US">
                <a:solidFill>
                  <a:schemeClr val="tx1">
                    <a:lumMod val="65000"/>
                    <a:lumOff val="35000"/>
                  </a:schemeClr>
                </a:solidFill>
                <a:latin typeface="Arial Unicode MS"/>
                <a:cs typeface="Arial Unicode MS"/>
              </a:rPr>
              <a:t>is protecting students from all risk of harm, including maltreatment and other types of risks that impact their overall health and development, wellbeing, and general safety.</a:t>
            </a:r>
          </a:p>
          <a:p>
            <a:pPr marL="297815" indent="-285750">
              <a:spcBef>
                <a:spcPts val="1000"/>
              </a:spcBef>
              <a:buFont typeface="Arial" panose="020B0604020202020204" pitchFamily="34" charset="0"/>
              <a:buChar char="•"/>
              <a:tabLst>
                <a:tab pos="283210" algn="l"/>
                <a:tab pos="283845" algn="l"/>
              </a:tabLst>
            </a:pPr>
            <a:r>
              <a:rPr lang="en-US" b="1">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Student maltreatment</a:t>
            </a:r>
            <a:r>
              <a:rPr lang="en-US">
                <a:solidFill>
                  <a:schemeClr val="tx1">
                    <a:lumMod val="65000"/>
                    <a:lumOff val="35000"/>
                  </a:schemeClr>
                </a:solidFill>
                <a:latin typeface="Arial Unicode MS"/>
                <a:cs typeface="Arial Unicode MS"/>
              </a:rPr>
              <a:t>, for the purpose of this policy, is synonymous to child maltreatment, which refers to all </a:t>
            </a:r>
            <a:r>
              <a:rPr lang="en-US" sz="18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threats to children’s physical, psychological, moral, or mental well-being </a:t>
            </a:r>
            <a:r>
              <a:rPr lang="en-US">
                <a:solidFill>
                  <a:schemeClr val="tx1">
                    <a:lumMod val="65000"/>
                    <a:lumOff val="35000"/>
                  </a:schemeClr>
                </a:solidFill>
                <a:latin typeface="Arial Unicode MS"/>
                <a:cs typeface="Arial Unicode MS"/>
              </a:rPr>
              <a:t>abuse (physical, emotional, and sexual), and includes neglect, exploitation, bullying, and cyberbullying of a student and any other action that could </a:t>
            </a:r>
            <a:r>
              <a:rPr lang="en-US" sz="18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threaten the safety of children or his/her physical, psychological, moral, or mental well-being</a:t>
            </a:r>
            <a:r>
              <a:rPr lang="en-US">
                <a:solidFill>
                  <a:schemeClr val="tx1">
                    <a:lumMod val="65000"/>
                    <a:lumOff val="35000"/>
                  </a:schemeClr>
                </a:solidFill>
                <a:latin typeface="Arial Unicode MS"/>
                <a:cs typeface="Arial Unicode MS"/>
              </a:rPr>
              <a:t>.</a:t>
            </a:r>
          </a:p>
          <a:p>
            <a:pPr marL="297815" indent="-285750">
              <a:spcBef>
                <a:spcPts val="1000"/>
              </a:spcBef>
              <a:buFont typeface="Arial" panose="020B0604020202020204" pitchFamily="34" charset="0"/>
              <a:buChar char="•"/>
              <a:tabLst>
                <a:tab pos="283210" algn="l"/>
                <a:tab pos="283845" algn="l"/>
              </a:tabLst>
            </a:pPr>
            <a:r>
              <a:rPr lang="en-US" b="1">
                <a:solidFill>
                  <a:schemeClr val="tx1">
                    <a:lumMod val="65000"/>
                    <a:lumOff val="35000"/>
                  </a:schemeClr>
                </a:solidFill>
                <a:latin typeface="Tahoma"/>
                <a:cs typeface="Tahoma"/>
              </a:rPr>
              <a:t>Student protection, </a:t>
            </a:r>
            <a:r>
              <a:rPr lang="en-US">
                <a:solidFill>
                  <a:schemeClr val="tx1">
                    <a:lumMod val="65000"/>
                    <a:lumOff val="35000"/>
                  </a:schemeClr>
                </a:solidFill>
                <a:latin typeface="Arial Unicode MS"/>
                <a:cs typeface="Arial Unicode MS"/>
              </a:rPr>
              <a:t>for the purpose of this policy, is synonymous to child protection, which is defined as all measures, steps and actions that must be taken to prevent, protect and support students from risks that may cause harm or injury or any other action that could </a:t>
            </a:r>
            <a:r>
              <a:rPr lang="en-US" sz="18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threaten the safety of children or his/her physical, psychological, moral, or mental well-being</a:t>
            </a:r>
            <a:r>
              <a:rPr lang="en-US" sz="1800">
                <a:solidFill>
                  <a:schemeClr val="tx1">
                    <a:lumMod val="65000"/>
                    <a:lumOff val="35000"/>
                  </a:schemeClr>
                </a:solidFill>
                <a:latin typeface="Arial Unicode MS"/>
                <a:ea typeface="Tahoma" panose="020B0604030504040204" pitchFamily="34" charset="0"/>
                <a:cs typeface="Tahoma" panose="020B0604030504040204" pitchFamily="34" charset="0"/>
              </a:rPr>
              <a:t> </a:t>
            </a:r>
            <a:r>
              <a:rPr lang="en-US">
                <a:solidFill>
                  <a:schemeClr val="tx1">
                    <a:lumMod val="65000"/>
                    <a:lumOff val="35000"/>
                  </a:schemeClr>
                </a:solidFill>
                <a:latin typeface="Arial Unicode MS"/>
                <a:cs typeface="Arial Unicode MS"/>
              </a:rPr>
              <a:t>whilst they are under the supervision of the educational institution.</a:t>
            </a:r>
          </a:p>
          <a:p>
            <a:pPr marL="297815" indent="-285750">
              <a:spcBef>
                <a:spcPts val="1000"/>
              </a:spcBef>
              <a:buFont typeface="Arial" panose="020B0604020202020204" pitchFamily="34" charset="0"/>
              <a:buChar char="•"/>
              <a:tabLst>
                <a:tab pos="283210" algn="l"/>
                <a:tab pos="283845" algn="l"/>
              </a:tabLst>
            </a:pPr>
            <a:r>
              <a:rPr lang="en-US" b="1">
                <a:solidFill>
                  <a:schemeClr val="tx1">
                    <a:lumMod val="65000"/>
                    <a:lumOff val="35000"/>
                  </a:schemeClr>
                </a:solidFill>
                <a:latin typeface="Arial Unicode MS"/>
                <a:cs typeface="Arial Unicode MS"/>
              </a:rPr>
              <a:t>Supervision </a:t>
            </a:r>
            <a:r>
              <a:rPr lang="en-US">
                <a:solidFill>
                  <a:schemeClr val="tx1">
                    <a:lumMod val="65000"/>
                    <a:lumOff val="35000"/>
                  </a:schemeClr>
                </a:solidFill>
                <a:latin typeface="Arial Unicode MS"/>
                <a:cs typeface="Arial Unicode MS"/>
              </a:rPr>
              <a:t>is the state of being responsible, having the duty of care, and keeping watch over an individual in the interest of their and others’ security while utilizing its systems and taking part in all activities organized by the school, inside or outside its premises, including travelling to and from the school using its transportation, and moving between and waiting for activities. </a:t>
            </a:r>
          </a:p>
          <a:p>
            <a:pPr marL="297815" indent="-285750">
              <a:spcBef>
                <a:spcPts val="1000"/>
              </a:spcBef>
              <a:buFont typeface="Arial" panose="020B0604020202020204" pitchFamily="34" charset="0"/>
              <a:buChar char="•"/>
              <a:tabLst>
                <a:tab pos="283210" algn="l"/>
                <a:tab pos="283845" algn="l"/>
              </a:tabLst>
            </a:pPr>
            <a:r>
              <a:rPr lang="en-US">
                <a:solidFill>
                  <a:schemeClr val="tx1">
                    <a:lumMod val="65000"/>
                    <a:lumOff val="35000"/>
                  </a:schemeClr>
                </a:solidFill>
                <a:latin typeface="Arial Unicode MS"/>
                <a:cs typeface="Arial Unicode MS"/>
              </a:rPr>
              <a:t>An </a:t>
            </a:r>
            <a:r>
              <a:rPr lang="en-US" b="1">
                <a:solidFill>
                  <a:schemeClr val="tx1">
                    <a:lumMod val="65000"/>
                    <a:lumOff val="35000"/>
                  </a:schemeClr>
                </a:solidFill>
                <a:latin typeface="Arial Unicode MS"/>
                <a:cs typeface="Arial Unicode MS"/>
              </a:rPr>
              <a:t>invited visitor </a:t>
            </a:r>
            <a:r>
              <a:rPr lang="en-US">
                <a:solidFill>
                  <a:schemeClr val="tx1">
                    <a:lumMod val="65000"/>
                    <a:lumOff val="35000"/>
                  </a:schemeClr>
                </a:solidFill>
                <a:latin typeface="Arial Unicode MS"/>
                <a:cs typeface="Arial Unicode MS"/>
              </a:rPr>
              <a:t>is an individual visiting the educational institution on a temporary basis to interact with students (e.g., a speaker, career fair representative, etc.).</a:t>
            </a:r>
          </a:p>
          <a:p>
            <a:pPr marL="297815" indent="-285750">
              <a:spcBef>
                <a:spcPts val="1000"/>
              </a:spcBef>
              <a:buFont typeface="Arial" panose="020B0604020202020204" pitchFamily="34" charset="0"/>
              <a:buChar char="•"/>
              <a:tabLst>
                <a:tab pos="283210" algn="l"/>
                <a:tab pos="283845" algn="l"/>
              </a:tabLst>
            </a:pPr>
            <a:r>
              <a:rPr lang="en-US" b="1">
                <a:solidFill>
                  <a:schemeClr val="tx1">
                    <a:lumMod val="65000"/>
                    <a:lumOff val="35000"/>
                  </a:schemeClr>
                </a:solidFill>
                <a:latin typeface="Arial Unicode MS"/>
                <a:cs typeface="Arial Unicode MS"/>
              </a:rPr>
              <a:t>Volunteer: </a:t>
            </a:r>
            <a:r>
              <a:rPr lang="en-US">
                <a:solidFill>
                  <a:schemeClr val="tx1">
                    <a:lumMod val="65000"/>
                    <a:lumOff val="35000"/>
                  </a:schemeClr>
                </a:solidFill>
                <a:latin typeface="Arial Unicode MS"/>
                <a:cs typeface="Arial Unicode MS"/>
              </a:rPr>
              <a:t>An individual engaged by an educational institution on a non-remunerated basis to interact with students (e.g., parent chaperones, etc.).</a:t>
            </a:r>
          </a:p>
          <a:p>
            <a:pPr marL="297815" indent="-285750">
              <a:spcBef>
                <a:spcPts val="1000"/>
              </a:spcBef>
              <a:buFont typeface="Arial" panose="020B0604020202020204" pitchFamily="34" charset="0"/>
              <a:buChar char="•"/>
              <a:tabLst>
                <a:tab pos="283210" algn="l"/>
                <a:tab pos="283845" algn="l"/>
              </a:tabLst>
            </a:pPr>
            <a:endParaRPr lang="en-US">
              <a:solidFill>
                <a:schemeClr val="tx1">
                  <a:lumMod val="65000"/>
                  <a:lumOff val="35000"/>
                </a:schemeClr>
              </a:solidFill>
              <a:latin typeface="Arial Unicode MS"/>
              <a:cs typeface="Arial Unicode MS"/>
            </a:endParaRPr>
          </a:p>
        </p:txBody>
      </p:sp>
      <p:pic>
        <p:nvPicPr>
          <p:cNvPr id="22" name="Graphic 21">
            <a:extLst>
              <a:ext uri="{FF2B5EF4-FFF2-40B4-BE49-F238E27FC236}">
                <a16:creationId xmlns:a16="http://schemas.microsoft.com/office/drawing/2014/main" id="{9BF87A4B-21B2-782E-ABD5-CD177175E12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299450" y="633761"/>
            <a:ext cx="1088572" cy="1088572"/>
          </a:xfrm>
          <a:prstGeom prst="rect">
            <a:avLst/>
          </a:prstGeom>
        </p:spPr>
      </p:pic>
      <p:sp>
        <p:nvSpPr>
          <p:cNvPr id="24" name="object 2">
            <a:extLst>
              <a:ext uri="{FF2B5EF4-FFF2-40B4-BE49-F238E27FC236}">
                <a16:creationId xmlns:a16="http://schemas.microsoft.com/office/drawing/2014/main" id="{351D60DD-F961-CE97-2F68-FC69591D6992}"/>
              </a:ext>
            </a:extLst>
          </p:cNvPr>
          <p:cNvSpPr txBox="1">
            <a:spLocks/>
          </p:cNvSpPr>
          <p:nvPr/>
        </p:nvSpPr>
        <p:spPr>
          <a:xfrm>
            <a:off x="679449" y="633761"/>
            <a:ext cx="8991600" cy="567463"/>
          </a:xfrm>
          <a:prstGeom prst="rect">
            <a:avLst/>
          </a:prstGeom>
        </p:spPr>
        <p:txBody>
          <a:bodyPr vert="horz" wrap="square" lIns="0" tIns="1333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nSpc>
                <a:spcPct val="100000"/>
              </a:lnSpc>
              <a:spcBef>
                <a:spcPts val="105"/>
              </a:spcBef>
            </a:pPr>
            <a:r>
              <a:rPr lang="en-US" sz="3600" b="1">
                <a:solidFill>
                  <a:srgbClr val="002060"/>
                </a:solidFill>
                <a:latin typeface="Tahoma"/>
                <a:cs typeface="Tahoma"/>
              </a:rPr>
              <a:t>DEFINITIONS</a:t>
            </a:r>
            <a:endParaRPr lang="en-US" sz="3600">
              <a:solidFill>
                <a:srgbClr val="002060"/>
              </a:solidFill>
              <a:latin typeface="Tahoma"/>
              <a:cs typeface="Tahoma"/>
            </a:endParaRPr>
          </a:p>
        </p:txBody>
      </p:sp>
      <p:pic>
        <p:nvPicPr>
          <p:cNvPr id="26" name="Graphic 25">
            <a:extLst>
              <a:ext uri="{FF2B5EF4-FFF2-40B4-BE49-F238E27FC236}">
                <a16:creationId xmlns:a16="http://schemas.microsoft.com/office/drawing/2014/main" id="{12FCB4F6-92E4-1169-75B3-311040D2A36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1219" y="10531475"/>
            <a:ext cx="562154" cy="562154"/>
          </a:xfrm>
          <a:prstGeom prst="rect">
            <a:avLst/>
          </a:prstGeom>
        </p:spPr>
      </p:pic>
      <p:pic>
        <p:nvPicPr>
          <p:cNvPr id="29" name="Graphic 28">
            <a:extLst>
              <a:ext uri="{FF2B5EF4-FFF2-40B4-BE49-F238E27FC236}">
                <a16:creationId xmlns:a16="http://schemas.microsoft.com/office/drawing/2014/main" id="{AB9DB350-B854-0A79-FA60-240230D0EAF9}"/>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711584" y="586513"/>
            <a:ext cx="711199" cy="603692"/>
          </a:xfrm>
          <a:prstGeom prst="rect">
            <a:avLst/>
          </a:prstGeom>
        </p:spPr>
      </p:pic>
    </p:spTree>
    <p:extLst>
      <p:ext uri="{BB962C8B-B14F-4D97-AF65-F5344CB8AC3E}">
        <p14:creationId xmlns:p14="http://schemas.microsoft.com/office/powerpoint/2010/main" val="19576741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lumMod val="20000"/>
            <a:lumOff val="80000"/>
          </a:schemeClr>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7E5627B0-AFC5-A5CF-075D-FE47B696C4B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flipH="1">
            <a:off x="17413741" y="0"/>
            <a:ext cx="682048" cy="733718"/>
          </a:xfrm>
          <a:prstGeom prst="rect">
            <a:avLst/>
          </a:prstGeom>
        </p:spPr>
      </p:pic>
      <p:pic>
        <p:nvPicPr>
          <p:cNvPr id="7" name="Graphic 6">
            <a:extLst>
              <a:ext uri="{FF2B5EF4-FFF2-40B4-BE49-F238E27FC236}">
                <a16:creationId xmlns:a16="http://schemas.microsoft.com/office/drawing/2014/main" id="{4FA109A3-BF70-9725-120F-8931E312C5E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16490566" y="-6311"/>
            <a:ext cx="876934" cy="943368"/>
          </a:xfrm>
          <a:prstGeom prst="rect">
            <a:avLst/>
          </a:prstGeom>
        </p:spPr>
      </p:pic>
      <p:sp>
        <p:nvSpPr>
          <p:cNvPr id="3" name="object 2">
            <a:extLst>
              <a:ext uri="{FF2B5EF4-FFF2-40B4-BE49-F238E27FC236}">
                <a16:creationId xmlns:a16="http://schemas.microsoft.com/office/drawing/2014/main" id="{6879CD7A-264F-AC38-311C-D30718C77A4C}"/>
              </a:ext>
            </a:extLst>
          </p:cNvPr>
          <p:cNvSpPr txBox="1">
            <a:spLocks/>
          </p:cNvSpPr>
          <p:nvPr/>
        </p:nvSpPr>
        <p:spPr>
          <a:xfrm>
            <a:off x="679449" y="684201"/>
            <a:ext cx="11506200" cy="512063"/>
          </a:xfrm>
          <a:prstGeom prst="rect">
            <a:avLst/>
          </a:prstGeom>
        </p:spPr>
        <p:txBody>
          <a:bodyPr vert="horz" wrap="square" lIns="0" tIns="1333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spcBef>
                <a:spcPts val="114"/>
              </a:spcBef>
            </a:pPr>
            <a:r>
              <a:rPr lang="en-US" sz="3600" b="1">
                <a:solidFill>
                  <a:schemeClr val="accent5">
                    <a:lumMod val="75000"/>
                  </a:schemeClr>
                </a:solidFill>
                <a:latin typeface="Tahoma"/>
                <a:cs typeface="Tahoma"/>
              </a:rPr>
              <a:t>WADEEMA’S LAW – RIGHT TO PROTECTION</a:t>
            </a:r>
          </a:p>
        </p:txBody>
      </p:sp>
      <p:sp>
        <p:nvSpPr>
          <p:cNvPr id="9" name="TextBox 8">
            <a:extLst>
              <a:ext uri="{FF2B5EF4-FFF2-40B4-BE49-F238E27FC236}">
                <a16:creationId xmlns:a16="http://schemas.microsoft.com/office/drawing/2014/main" id="{71815DE3-58C7-F758-C4CB-BB0B1B8795E4}"/>
              </a:ext>
            </a:extLst>
          </p:cNvPr>
          <p:cNvSpPr txBox="1"/>
          <p:nvPr/>
        </p:nvSpPr>
        <p:spPr>
          <a:xfrm>
            <a:off x="679450" y="1991579"/>
            <a:ext cx="17070668" cy="4909036"/>
          </a:xfrm>
          <a:prstGeom prst="rect">
            <a:avLst/>
          </a:prstGeom>
          <a:noFill/>
        </p:spPr>
        <p:txBody>
          <a:bodyPr wrap="square">
            <a:spAutoFit/>
          </a:bodyPr>
          <a:lstStyle/>
          <a:p>
            <a:r>
              <a:rPr lang="en-US" sz="2000">
                <a:latin typeface="Tahoma" panose="020B0604030504040204" pitchFamily="34" charset="0"/>
                <a:ea typeface="Tahoma" panose="020B0604030504040204" pitchFamily="34" charset="0"/>
                <a:cs typeface="Tahoma" panose="020B0604030504040204" pitchFamily="34" charset="0"/>
              </a:rPr>
              <a:t>According to Article 33 of Wadeema’s Law, the following in particular shall be considered as threatening to the child or to his/her physical, psychological, moral or mental integrity, which requires his/her right to protection:</a:t>
            </a:r>
          </a:p>
          <a:p>
            <a:endParaRPr lang="en-US" sz="2800">
              <a:latin typeface="Tahoma" panose="020B0604030504040204" pitchFamily="34" charset="0"/>
              <a:ea typeface="Tahoma" panose="020B0604030504040204" pitchFamily="34" charset="0"/>
              <a:cs typeface="Tahoma" panose="020B0604030504040204" pitchFamily="34" charset="0"/>
            </a:endParaRPr>
          </a:p>
          <a:p>
            <a:pPr marL="342900" indent="-342900">
              <a:spcBef>
                <a:spcPts val="300"/>
              </a:spcBef>
              <a:buBlip>
                <a:blip r:embed="rId7"/>
              </a:buBlip>
            </a:pPr>
            <a:r>
              <a:rPr lang="en-US" sz="2000">
                <a:latin typeface="Tahoma" panose="020B0604030504040204" pitchFamily="34" charset="0"/>
                <a:ea typeface="Tahoma" panose="020B0604030504040204" pitchFamily="34" charset="0"/>
                <a:cs typeface="Tahoma" panose="020B0604030504040204" pitchFamily="34" charset="0"/>
              </a:rPr>
              <a:t>Loss of both parents and living without a breadwinner or tutor.</a:t>
            </a:r>
          </a:p>
          <a:p>
            <a:pPr marL="342900" indent="-342900">
              <a:spcBef>
                <a:spcPts val="300"/>
              </a:spcBef>
              <a:buBlip>
                <a:blip r:embed="rId7"/>
              </a:buBlip>
            </a:pPr>
            <a:r>
              <a:rPr lang="en-US" sz="2000">
                <a:latin typeface="Tahoma" panose="020B0604030504040204" pitchFamily="34" charset="0"/>
                <a:ea typeface="Tahoma" panose="020B0604030504040204" pitchFamily="34" charset="0"/>
                <a:cs typeface="Tahoma" panose="020B0604030504040204" pitchFamily="34" charset="0"/>
              </a:rPr>
              <a:t>Child's exposure to neglect, rejection and homelessness.</a:t>
            </a:r>
          </a:p>
          <a:p>
            <a:pPr marL="342900" indent="-342900">
              <a:spcBef>
                <a:spcPts val="300"/>
              </a:spcBef>
              <a:buBlip>
                <a:blip r:embed="rId7"/>
              </a:buBlip>
            </a:pPr>
            <a:r>
              <a:rPr lang="en-US" sz="2000">
                <a:latin typeface="Tahoma" panose="020B0604030504040204" pitchFamily="34" charset="0"/>
                <a:ea typeface="Tahoma" panose="020B0604030504040204" pitchFamily="34" charset="0"/>
                <a:cs typeface="Tahoma" panose="020B0604030504040204" pitchFamily="34" charset="0"/>
              </a:rPr>
              <a:t>Obvious and continuous default in education and care.</a:t>
            </a:r>
          </a:p>
          <a:p>
            <a:pPr marL="342900" indent="-342900">
              <a:spcBef>
                <a:spcPts val="300"/>
              </a:spcBef>
              <a:buBlip>
                <a:blip r:embed="rId7"/>
              </a:buBlip>
            </a:pPr>
            <a:r>
              <a:rPr lang="en-US" sz="2000">
                <a:latin typeface="Tahoma" panose="020B0604030504040204" pitchFamily="34" charset="0"/>
                <a:ea typeface="Tahoma" panose="020B0604030504040204" pitchFamily="34" charset="0"/>
                <a:cs typeface="Tahoma" panose="020B0604030504040204" pitchFamily="34" charset="0"/>
              </a:rPr>
              <a:t>Habitual child abuse.</a:t>
            </a:r>
          </a:p>
          <a:p>
            <a:pPr marL="342900" indent="-342900">
              <a:spcBef>
                <a:spcPts val="300"/>
              </a:spcBef>
              <a:buBlip>
                <a:blip r:embed="rId7"/>
              </a:buBlip>
            </a:pPr>
            <a:r>
              <a:rPr lang="en-US" sz="2000">
                <a:latin typeface="Tahoma" panose="020B0604030504040204" pitchFamily="34" charset="0"/>
                <a:ea typeface="Tahoma" panose="020B0604030504040204" pitchFamily="34" charset="0"/>
                <a:cs typeface="Tahoma" panose="020B0604030504040204" pitchFamily="34" charset="0"/>
              </a:rPr>
              <a:t>Child's exposure to exploitation or sexual abuse.</a:t>
            </a:r>
          </a:p>
          <a:p>
            <a:pPr marL="342900" indent="-342900">
              <a:spcBef>
                <a:spcPts val="300"/>
              </a:spcBef>
              <a:buBlip>
                <a:blip r:embed="rId7"/>
              </a:buBlip>
            </a:pPr>
            <a:r>
              <a:rPr lang="en-US" sz="2000">
                <a:latin typeface="Tahoma" panose="020B0604030504040204" pitchFamily="34" charset="0"/>
                <a:ea typeface="Tahoma" panose="020B0604030504040204" pitchFamily="34" charset="0"/>
                <a:cs typeface="Tahoma" panose="020B0604030504040204" pitchFamily="34" charset="0"/>
              </a:rPr>
              <a:t>Child's exposure to exploitation by illegal organizations and in organized crime, such as planting the ideas of intolerance and hatred or inciting the child to carry out acts of violence and intimidation.</a:t>
            </a:r>
          </a:p>
          <a:p>
            <a:pPr marL="342900" indent="-342900">
              <a:spcBef>
                <a:spcPts val="300"/>
              </a:spcBef>
              <a:buBlip>
                <a:blip r:embed="rId7"/>
              </a:buBlip>
            </a:pPr>
            <a:r>
              <a:rPr lang="en-US" sz="2000">
                <a:latin typeface="Tahoma" panose="020B0604030504040204" pitchFamily="34" charset="0"/>
                <a:ea typeface="Tahoma" panose="020B0604030504040204" pitchFamily="34" charset="0"/>
                <a:cs typeface="Tahoma" panose="020B0604030504040204" pitchFamily="34" charset="0"/>
              </a:rPr>
              <a:t>Child's exposure to begging or to economic exploitation.</a:t>
            </a:r>
          </a:p>
          <a:p>
            <a:pPr marL="342900" indent="-342900">
              <a:spcBef>
                <a:spcPts val="300"/>
              </a:spcBef>
              <a:buBlip>
                <a:blip r:embed="rId7"/>
              </a:buBlip>
            </a:pPr>
            <a:r>
              <a:rPr lang="en-US" sz="2000">
                <a:latin typeface="Tahoma" panose="020B0604030504040204" pitchFamily="34" charset="0"/>
                <a:ea typeface="Tahoma" panose="020B0604030504040204" pitchFamily="34" charset="0"/>
                <a:cs typeface="Tahoma" panose="020B0604030504040204" pitchFamily="34" charset="0"/>
              </a:rPr>
              <a:t>Inability of the parents or custodian to provide care or to raise the child.</a:t>
            </a:r>
          </a:p>
          <a:p>
            <a:pPr marL="342900" indent="-342900">
              <a:spcBef>
                <a:spcPts val="300"/>
              </a:spcBef>
              <a:buBlip>
                <a:blip r:embed="rId7"/>
              </a:buBlip>
            </a:pPr>
            <a:r>
              <a:rPr lang="en-US" sz="2000">
                <a:latin typeface="Tahoma" panose="020B0604030504040204" pitchFamily="34" charset="0"/>
                <a:ea typeface="Tahoma" panose="020B0604030504040204" pitchFamily="34" charset="0"/>
                <a:cs typeface="Tahoma" panose="020B0604030504040204" pitchFamily="34" charset="0"/>
              </a:rPr>
              <a:t>Child's exposure to kidnapping, sale or trafficking for any purpose or to exploitation of any form.</a:t>
            </a:r>
          </a:p>
          <a:p>
            <a:pPr marL="342900" indent="-342900">
              <a:spcBef>
                <a:spcPts val="300"/>
              </a:spcBef>
              <a:buBlip>
                <a:blip r:embed="rId7"/>
              </a:buBlip>
            </a:pPr>
            <a:r>
              <a:rPr lang="en-US" sz="2000">
                <a:latin typeface="Tahoma" panose="020B0604030504040204" pitchFamily="34" charset="0"/>
                <a:ea typeface="Tahoma" panose="020B0604030504040204" pitchFamily="34" charset="0"/>
                <a:cs typeface="Tahoma" panose="020B0604030504040204" pitchFamily="34" charset="0"/>
              </a:rPr>
              <a:t>Psychological or mental disability that affects the child's ability to perception.</a:t>
            </a:r>
          </a:p>
        </p:txBody>
      </p:sp>
    </p:spTree>
    <p:extLst>
      <p:ext uri="{BB962C8B-B14F-4D97-AF65-F5344CB8AC3E}">
        <p14:creationId xmlns:p14="http://schemas.microsoft.com/office/powerpoint/2010/main" val="29493459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lumMod val="20000"/>
            <a:lumOff val="80000"/>
          </a:schemeClr>
        </a:solidFill>
        <a:effectLst/>
      </p:bgPr>
    </p:bg>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3662DC6D-8449-E4E5-B848-64A1C103A655}"/>
              </a:ext>
            </a:extLst>
          </p:cNvPr>
          <p:cNvSpPr txBox="1">
            <a:spLocks/>
          </p:cNvSpPr>
          <p:nvPr/>
        </p:nvSpPr>
        <p:spPr>
          <a:xfrm>
            <a:off x="679449" y="681026"/>
            <a:ext cx="12801600" cy="512063"/>
          </a:xfrm>
          <a:prstGeom prst="rect">
            <a:avLst/>
          </a:prstGeom>
        </p:spPr>
        <p:txBody>
          <a:bodyPr vert="horz" wrap="square" lIns="0" tIns="1333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spcBef>
                <a:spcPts val="114"/>
              </a:spcBef>
            </a:pPr>
            <a:r>
              <a:rPr lang="en-US" sz="3600" b="1">
                <a:solidFill>
                  <a:srgbClr val="002060"/>
                </a:solidFill>
                <a:latin typeface="Tahoma"/>
                <a:cs typeface="Tahoma"/>
              </a:rPr>
              <a:t>TYPES OF MALTREATMENT OF STUDENTS</a:t>
            </a:r>
          </a:p>
        </p:txBody>
      </p:sp>
      <p:sp>
        <p:nvSpPr>
          <p:cNvPr id="15" name="object 22">
            <a:extLst>
              <a:ext uri="{FF2B5EF4-FFF2-40B4-BE49-F238E27FC236}">
                <a16:creationId xmlns:a16="http://schemas.microsoft.com/office/drawing/2014/main" id="{CE9A82B8-C3CD-B539-FA34-8A812D02C80A}"/>
              </a:ext>
            </a:extLst>
          </p:cNvPr>
          <p:cNvSpPr txBox="1"/>
          <p:nvPr/>
        </p:nvSpPr>
        <p:spPr>
          <a:xfrm>
            <a:off x="679449" y="1640968"/>
            <a:ext cx="18821401" cy="9042907"/>
          </a:xfrm>
          <a:prstGeom prst="rect">
            <a:avLst/>
          </a:prstGeom>
          <a:noFill/>
        </p:spPr>
        <p:txBody>
          <a:bodyPr vert="horz" wrap="none" lIns="0" tIns="12065" rIns="0" bIns="0" numCol="2" spcCol="360000" rtlCol="0">
            <a:noAutofit/>
          </a:bodyPr>
          <a:lstStyle/>
          <a:p>
            <a:pPr marL="297815" marR="154305" indent="-285750">
              <a:lnSpc>
                <a:spcPct val="102299"/>
              </a:lnSpc>
              <a:spcBef>
                <a:spcPts val="95"/>
              </a:spcBef>
              <a:buFont typeface="Arial" panose="020B0604020202020204" pitchFamily="34" charset="0"/>
              <a:buChar char="•"/>
              <a:tabLst>
                <a:tab pos="283210" algn="l"/>
                <a:tab pos="283845" algn="l"/>
              </a:tabLst>
            </a:pPr>
            <a:r>
              <a:rPr lang="en-US" sz="2000" b="1">
                <a:solidFill>
                  <a:schemeClr val="tx1">
                    <a:lumMod val="65000"/>
                    <a:lumOff val="35000"/>
                  </a:schemeClr>
                </a:solidFill>
                <a:latin typeface="Tahoma"/>
                <a:cs typeface="Tahoma"/>
              </a:rPr>
              <a:t>Physical abuse: </a:t>
            </a:r>
            <a:r>
              <a:rPr lang="en-US" sz="2000">
                <a:solidFill>
                  <a:schemeClr val="tx1">
                    <a:lumMod val="65000"/>
                    <a:lumOff val="35000"/>
                  </a:schemeClr>
                </a:solidFill>
                <a:latin typeface="Arial Unicode MS"/>
                <a:cs typeface="Arial Unicode MS"/>
              </a:rPr>
              <a:t>An intentional physical act or failure or unwillingness to act which results in, has a high likelihood of resulting in, or poses a threat of resulting in, immediate and/or long-term physical injury or harm to students’ health, survival and development.</a:t>
            </a:r>
          </a:p>
          <a:p>
            <a:pPr marL="297815" marR="196850" indent="-285750">
              <a:lnSpc>
                <a:spcPct val="102299"/>
              </a:lnSpc>
              <a:spcBef>
                <a:spcPts val="1155"/>
              </a:spcBef>
              <a:buFont typeface="Arial" panose="020B0604020202020204" pitchFamily="34" charset="0"/>
              <a:buChar char="•"/>
              <a:tabLst>
                <a:tab pos="283210" algn="l"/>
                <a:tab pos="283845" algn="l"/>
              </a:tabLst>
            </a:pPr>
            <a:r>
              <a:rPr lang="en-US" sz="2000" b="1">
                <a:solidFill>
                  <a:schemeClr val="tx1">
                    <a:lumMod val="65000"/>
                    <a:lumOff val="35000"/>
                  </a:schemeClr>
                </a:solidFill>
                <a:latin typeface="Tahoma"/>
                <a:cs typeface="Tahoma"/>
              </a:rPr>
              <a:t>Emotional abuse: </a:t>
            </a:r>
            <a:r>
              <a:rPr lang="en-US" sz="2000">
                <a:solidFill>
                  <a:schemeClr val="tx1">
                    <a:lumMod val="65000"/>
                    <a:lumOff val="35000"/>
                  </a:schemeClr>
                </a:solidFill>
                <a:latin typeface="Arial Unicode MS"/>
                <a:cs typeface="Arial Unicode MS"/>
              </a:rPr>
              <a:t>An act, whether consistent or inconsistent, used to make a student feel unloved, worthless, and of no value and integrity, interfering with the student’s positive mental and emotional development.</a:t>
            </a:r>
          </a:p>
          <a:p>
            <a:pPr marL="297815" marR="40005" indent="-285750">
              <a:lnSpc>
                <a:spcPct val="102299"/>
              </a:lnSpc>
              <a:spcBef>
                <a:spcPts val="1155"/>
              </a:spcBef>
              <a:buFont typeface="Arial" panose="020B0604020202020204" pitchFamily="34" charset="0"/>
              <a:buChar char="•"/>
              <a:tabLst>
                <a:tab pos="283210" algn="l"/>
                <a:tab pos="283845" algn="l"/>
              </a:tabLst>
            </a:pPr>
            <a:r>
              <a:rPr lang="en-US" sz="2000" b="1">
                <a:solidFill>
                  <a:schemeClr val="tx1">
                    <a:lumMod val="65000"/>
                    <a:lumOff val="35000"/>
                  </a:schemeClr>
                </a:solidFill>
                <a:latin typeface="Tahoma"/>
                <a:cs typeface="Tahoma"/>
              </a:rPr>
              <a:t>Sexual abuse: </a:t>
            </a:r>
            <a:r>
              <a:rPr lang="en-US" sz="2000">
                <a:solidFill>
                  <a:schemeClr val="tx1">
                    <a:lumMod val="65000"/>
                    <a:lumOff val="35000"/>
                  </a:schemeClr>
                </a:solidFill>
                <a:latin typeface="Arial Unicode MS"/>
                <a:cs typeface="Tahoma"/>
              </a:rPr>
              <a:t>T</a:t>
            </a:r>
            <a:r>
              <a:rPr lang="en-US" sz="2000">
                <a:solidFill>
                  <a:schemeClr val="tx1">
                    <a:lumMod val="65000"/>
                    <a:lumOff val="35000"/>
                  </a:schemeClr>
                </a:solidFill>
                <a:latin typeface="Arial Unicode MS"/>
                <a:cs typeface="Arial Unicode MS"/>
              </a:rPr>
              <a:t>he coercion, attraction or involvement of students in sexual activity that they may or may not fully comprehend, or that violates the laws or social taboos of society. Activity could also include practices that do not involve any physical contact, such as involving students in watching or producing pornographic material, or watching sexual practices, or encouraging students to behave in inappropriate sexual ways. Student sexual abuse is evidenced by the activity between an adult and a student, or between students, who by age or development is in a relationship of responsibility, trust or power. The intent of the activity is to gratify or satisfy the needs of the other person..</a:t>
            </a:r>
          </a:p>
          <a:p>
            <a:pPr marL="297815" marR="131445" indent="-285750">
              <a:lnSpc>
                <a:spcPct val="102299"/>
              </a:lnSpc>
              <a:spcBef>
                <a:spcPts val="1155"/>
              </a:spcBef>
              <a:buFont typeface="Arial" panose="020B0604020202020204" pitchFamily="34" charset="0"/>
              <a:buChar char="•"/>
              <a:tabLst>
                <a:tab pos="283210" algn="l"/>
                <a:tab pos="283845" algn="l"/>
              </a:tabLst>
            </a:pPr>
            <a:r>
              <a:rPr lang="en-US" sz="2000" b="1">
                <a:solidFill>
                  <a:schemeClr val="tx1">
                    <a:lumMod val="65000"/>
                    <a:lumOff val="35000"/>
                  </a:schemeClr>
                </a:solidFill>
                <a:latin typeface="Tahoma"/>
                <a:cs typeface="Tahoma"/>
              </a:rPr>
              <a:t>Neglect: </a:t>
            </a:r>
            <a:r>
              <a:rPr lang="en-US" sz="2000">
                <a:solidFill>
                  <a:schemeClr val="tx1">
                    <a:lumMod val="65000"/>
                    <a:lumOff val="35000"/>
                  </a:schemeClr>
                </a:solidFill>
                <a:latin typeface="Arial Unicode MS"/>
                <a:cs typeface="Arial Unicode MS"/>
              </a:rPr>
              <a:t>Failure of parents or caregivers to provide for/protect the basic needs and rights of students to safeguard their life, physical safety, development, and psychological, mental, and moral integrity and wellbeing, that may lead to a failure to thrive in the context of the resources reasonably available to the family and/or caregiver and causes or has a high probability of causing significant harm to students’ health and/or physical, social, educational, mental, spiritual or moral integrity.</a:t>
            </a:r>
          </a:p>
          <a:p>
            <a:pPr marL="297815" marR="414655" indent="-285750">
              <a:lnSpc>
                <a:spcPct val="102299"/>
              </a:lnSpc>
              <a:spcBef>
                <a:spcPts val="1155"/>
              </a:spcBef>
              <a:buFont typeface="Arial" panose="020B0604020202020204" pitchFamily="34" charset="0"/>
              <a:buChar char="•"/>
              <a:tabLst>
                <a:tab pos="283210" algn="l"/>
                <a:tab pos="283845" algn="l"/>
              </a:tabLst>
            </a:pPr>
            <a:r>
              <a:rPr lang="en-US" sz="2000" b="1">
                <a:solidFill>
                  <a:schemeClr val="tx1">
                    <a:lumMod val="65000"/>
                    <a:lumOff val="35000"/>
                  </a:schemeClr>
                </a:solidFill>
                <a:latin typeface="Tahoma"/>
                <a:cs typeface="Tahoma"/>
              </a:rPr>
              <a:t>Exploitation: </a:t>
            </a:r>
            <a:r>
              <a:rPr lang="en-US" sz="2000">
                <a:solidFill>
                  <a:schemeClr val="tx1">
                    <a:lumMod val="65000"/>
                    <a:lumOff val="35000"/>
                  </a:schemeClr>
                </a:solidFill>
                <a:latin typeface="Arial Unicode MS"/>
                <a:cs typeface="Arial Unicode MS"/>
              </a:rPr>
              <a:t>Use of students in work or other activities for the benefit of others. This includes, but is not limited to, student labor and exploitation of students in prostitution or involvement of students in gangs, militia or military. These activities are to the detriment of students’ physical or mental health, education, and/or moral or social development</a:t>
            </a:r>
          </a:p>
          <a:p>
            <a:pPr marL="640715" marR="5080" lvl="1" indent="-353060" algn="l" defTabSz="914400" rtl="0" eaLnBrk="1" fontAlgn="auto" latinLnBrk="0" hangingPunct="1">
              <a:spcBef>
                <a:spcPts val="1200"/>
              </a:spcBef>
              <a:buClrTx/>
              <a:buSzTx/>
              <a:buFont typeface="Arial" panose="020B0604020202020204" pitchFamily="34" charset="0"/>
              <a:buChar char="•"/>
              <a:tabLst>
                <a:tab pos="640715" algn="l"/>
                <a:tab pos="641350" algn="l"/>
              </a:tabLst>
              <a:defRPr/>
            </a:pPr>
            <a:r>
              <a:rPr kumimoji="0" lang="en-US" sz="2000" b="0" i="0" u="none" strike="noStrike" kern="1200" cap="none" normalizeH="0" baseline="0" noProof="0">
                <a:ln>
                  <a:noFill/>
                </a:ln>
                <a:solidFill>
                  <a:srgbClr val="666666"/>
                </a:solidFill>
                <a:effectLst/>
                <a:uLnTx/>
                <a:uFillTx/>
                <a:latin typeface="Tahoma" panose="020B0604030504040204" pitchFamily="34" charset="0"/>
                <a:ea typeface="Tahoma" panose="020B0604030504040204" pitchFamily="34" charset="0"/>
                <a:cs typeface="Tahoma" panose="020B0604030504040204" pitchFamily="34" charset="0"/>
              </a:rPr>
              <a:t>Sexual exploitation is a f</a:t>
            </a:r>
            <a:r>
              <a:rPr kumimoji="0" lang="en-US" sz="2000" b="0" i="0" u="none" strike="noStrike" kern="1200" cap="none" normalizeH="0" baseline="0" noProof="0">
                <a:ln>
                  <a:noFill/>
                </a:ln>
                <a:solidFill>
                  <a:srgbClr val="666666"/>
                </a:solidFill>
                <a:effectLst/>
                <a:uLnTx/>
                <a:uFillTx/>
                <a:latin typeface="Arial Unicode MS"/>
                <a:ea typeface="+mn-ea"/>
                <a:cs typeface="Arial Unicode MS"/>
              </a:rPr>
              <a:t>orm of sexual abuse where there is abuse of power by a youth, adult or group who may coerce, manipulate or deceive a student into sexual activity by physical contact and/or use of technology for monetary, social or political gain.</a:t>
            </a:r>
          </a:p>
          <a:p>
            <a:pPr marL="640715" marR="173990" lvl="1" indent="-353060" algn="l" defTabSz="914400" rtl="0" eaLnBrk="1" fontAlgn="auto" latinLnBrk="0" hangingPunct="1">
              <a:spcBef>
                <a:spcPts val="1200"/>
              </a:spcBef>
              <a:buClrTx/>
              <a:buSzTx/>
              <a:buFont typeface="Arial" panose="020B0604020202020204" pitchFamily="34" charset="0"/>
              <a:buChar char="•"/>
              <a:tabLst>
                <a:tab pos="640715" algn="l"/>
                <a:tab pos="641350" algn="l"/>
              </a:tabLst>
              <a:defRPr/>
            </a:pPr>
            <a:r>
              <a:rPr kumimoji="0" lang="en-US" sz="2000" b="0" i="0" u="none" strike="noStrike" kern="1200" cap="none" normalizeH="0" baseline="0" noProof="0">
                <a:ln>
                  <a:noFill/>
                </a:ln>
                <a:solidFill>
                  <a:srgbClr val="666666"/>
                </a:solidFill>
                <a:effectLst/>
                <a:uLnTx/>
                <a:uFillTx/>
                <a:latin typeface="Tahoma" panose="020B0604030504040204" pitchFamily="34" charset="0"/>
                <a:ea typeface="Tahoma" panose="020B0604030504040204" pitchFamily="34" charset="0"/>
                <a:cs typeface="Tahoma" panose="020B0604030504040204" pitchFamily="34" charset="0"/>
              </a:rPr>
              <a:t>Economic exploitation is the u</a:t>
            </a:r>
            <a:r>
              <a:rPr kumimoji="0" lang="en-US" sz="2000" b="0" i="0" u="none" strike="noStrike" kern="1200" cap="none" normalizeH="0" baseline="0" noProof="0">
                <a:ln>
                  <a:noFill/>
                </a:ln>
                <a:solidFill>
                  <a:srgbClr val="666666"/>
                </a:solidFill>
                <a:effectLst/>
                <a:uLnTx/>
                <a:uFillTx/>
                <a:latin typeface="Arial Unicode MS"/>
                <a:ea typeface="+mn-ea"/>
                <a:cs typeface="Arial Unicode MS"/>
              </a:rPr>
              <a:t>se of a student who is below the minimum labor age in the workplace or related activities for the benefit of others through the production, distribution and consumption of goods or of a particular service delivered by the student.</a:t>
            </a:r>
            <a:endParaRPr lang="en-US" sz="2000">
              <a:solidFill>
                <a:srgbClr val="666666"/>
              </a:solidFill>
              <a:latin typeface="Arial Unicode MS"/>
              <a:cs typeface="Arial Unicode MS"/>
            </a:endParaRPr>
          </a:p>
          <a:p>
            <a:pPr marL="297815" marR="5080" lvl="2" indent="-285750">
              <a:spcBef>
                <a:spcPts val="1200"/>
              </a:spcBef>
              <a:buFont typeface="Arial" panose="020B0604020202020204" pitchFamily="34" charset="0"/>
              <a:buChar char="•"/>
              <a:tabLst>
                <a:tab pos="283210" algn="l"/>
                <a:tab pos="283845" algn="l"/>
              </a:tabLst>
            </a:pPr>
            <a:r>
              <a:rPr lang="en-US" sz="2000">
                <a:solidFill>
                  <a:srgbClr val="666666"/>
                </a:solidFill>
              </a:rPr>
              <a:t>The guide on handling maltreatment of students at educational institutions provides a full list of signs to identify all </a:t>
            </a:r>
            <a:r>
              <a:rPr lang="en-US" sz="2000">
                <a:solidFill>
                  <a:srgbClr val="666666"/>
                </a:solidFill>
                <a:latin typeface="Arial Unicode MS"/>
                <a:cs typeface="Arial Unicode MS"/>
              </a:rPr>
              <a:t>types of maltreatment.</a:t>
            </a:r>
            <a:r>
              <a:rPr lang="en-US" sz="2000" baseline="30000">
                <a:solidFill>
                  <a:srgbClr val="666666"/>
                </a:solidFill>
                <a:latin typeface="Arial Unicode MS"/>
                <a:cs typeface="Arial Unicode MS"/>
              </a:rPr>
              <a:t>1</a:t>
            </a:r>
            <a:br>
              <a:rPr lang="en-US" sz="2000" baseline="30000">
                <a:solidFill>
                  <a:srgbClr val="666666"/>
                </a:solidFill>
                <a:latin typeface="Arial Unicode MS"/>
                <a:cs typeface="Arial Unicode MS"/>
              </a:rPr>
            </a:br>
            <a:endParaRPr lang="en-US" sz="2000">
              <a:solidFill>
                <a:srgbClr val="666666"/>
              </a:solidFill>
              <a:latin typeface="Arial Unicode MS"/>
              <a:cs typeface="Arial Unicode MS"/>
            </a:endParaRPr>
          </a:p>
          <a:p>
            <a:pPr marL="297815" marR="5080" indent="-285750">
              <a:spcBef>
                <a:spcPts val="1200"/>
              </a:spcBef>
              <a:buFont typeface="Arial" panose="020B0604020202020204" pitchFamily="34" charset="0"/>
              <a:buChar char="•"/>
              <a:tabLst>
                <a:tab pos="283210" algn="l"/>
                <a:tab pos="283845" algn="l"/>
              </a:tabLst>
            </a:pPr>
            <a:r>
              <a:rPr lang="en-US" sz="2000" b="1">
                <a:solidFill>
                  <a:srgbClr val="666666"/>
                </a:solidFill>
                <a:latin typeface="Tahoma"/>
                <a:cs typeface="Tahoma"/>
              </a:rPr>
              <a:t>Bullying</a:t>
            </a:r>
            <a:r>
              <a:rPr lang="en-US" sz="2000">
                <a:solidFill>
                  <a:srgbClr val="666666"/>
                </a:solidFill>
                <a:latin typeface="Tahoma"/>
                <a:cs typeface="Tahoma"/>
              </a:rPr>
              <a:t> is the r</a:t>
            </a:r>
            <a:r>
              <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rPr>
              <a:t>epeated physical, psychological, social or verbal aggression exercised by students who feel they are in a position of power against peers who are perceived weaker or powerless, to achieve specific gains or draw attention, in a way that hurts students physically and/or emotionally; bullying can be committed by groups or individuals, online (cyberbullying) </a:t>
            </a:r>
            <a:r>
              <a:rPr lang="en-US" sz="2000">
                <a:solidFill>
                  <a:srgbClr val="666666"/>
                </a:solidFill>
                <a:ea typeface="Arial Unicode MS" panose="020B0604020202020204" pitchFamily="34" charset="-128"/>
              </a:rPr>
              <a:t>or in the real world.</a:t>
            </a:r>
          </a:p>
          <a:p>
            <a:pPr marL="297815" marR="5080" indent="-285750">
              <a:spcBef>
                <a:spcPts val="1200"/>
              </a:spcBef>
              <a:buFont typeface="Arial" panose="020B0604020202020204" pitchFamily="34" charset="0"/>
              <a:buChar char="•"/>
              <a:tabLst>
                <a:tab pos="283210" algn="l"/>
                <a:tab pos="283845" algn="l"/>
              </a:tabLst>
            </a:pPr>
            <a:r>
              <a:rPr kumimoji="0" lang="en-US" sz="2000" b="1" i="0" u="none" strike="noStrike" kern="1200" cap="none" normalizeH="0" baseline="0" noProof="0">
                <a:ln>
                  <a:noFill/>
                </a:ln>
                <a:solidFill>
                  <a:srgbClr val="666666"/>
                </a:solidFill>
                <a:effectLst/>
                <a:uLnTx/>
                <a:uFillTx/>
                <a:latin typeface="Tahoma"/>
                <a:ea typeface="+mn-ea"/>
                <a:cs typeface="Tahoma"/>
              </a:rPr>
              <a:t>Cyberbullying</a:t>
            </a:r>
            <a:r>
              <a:rPr kumimoji="0" lang="en-US" sz="2000" i="0" u="none" strike="noStrike" kern="1200" cap="none" normalizeH="0" baseline="0" noProof="0">
                <a:ln>
                  <a:noFill/>
                </a:ln>
                <a:solidFill>
                  <a:srgbClr val="666666"/>
                </a:solidFill>
                <a:effectLst/>
                <a:uLnTx/>
                <a:uFillTx/>
                <a:latin typeface="Tahoma"/>
                <a:ea typeface="+mn-ea"/>
                <a:cs typeface="Tahoma"/>
              </a:rPr>
              <a:t>: Bullying that takes pla</a:t>
            </a:r>
            <a:r>
              <a:rPr lang="en-US" sz="2000" kern="1200">
                <a:solidFill>
                  <a:srgbClr val="666666"/>
                </a:solidFill>
                <a:latin typeface="Tahoma"/>
                <a:ea typeface="+mn-ea"/>
                <a:cs typeface="Tahoma"/>
              </a:rPr>
              <a:t>ce online. Online bullying can follow the bullied student wherever they go via social communication networks and mobile phones and has a wider reach than bullying in real life.</a:t>
            </a:r>
          </a:p>
          <a:p>
            <a:pPr marL="292100" marR="158115" lvl="0" indent="-4763" algn="l" defTabSz="914400" rtl="0" eaLnBrk="1" fontAlgn="auto" latinLnBrk="0" hangingPunct="1">
              <a:spcBef>
                <a:spcPts val="1200"/>
              </a:spcBef>
              <a:buClrTx/>
              <a:buSzTx/>
              <a:buFontTx/>
              <a:buNone/>
              <a:tabLst>
                <a:tab pos="640715" algn="l"/>
              </a:tabLst>
              <a:defRPr/>
            </a:pPr>
            <a:r>
              <a:rPr kumimoji="0" lang="en-US" sz="2000" i="0" u="none" strike="noStrike" kern="1200" cap="none" normalizeH="0" baseline="0" noProof="0">
                <a:ln>
                  <a:noFill/>
                </a:ln>
                <a:solidFill>
                  <a:srgbClr val="666666"/>
                </a:solidFill>
                <a:effectLst/>
                <a:uLnTx/>
                <a:uFillTx/>
                <a:latin typeface="Tahoma"/>
                <a:ea typeface="+mn-ea"/>
                <a:cs typeface="Tahoma"/>
              </a:rPr>
              <a:t>The guide on Handling Student Maltreatment Concerns within educational </a:t>
            </a:r>
            <a:r>
              <a:rPr lang="en-US" sz="2000" kern="1200">
                <a:solidFill>
                  <a:srgbClr val="666666"/>
                </a:solidFill>
                <a:latin typeface="Tahoma"/>
                <a:ea typeface="+mn-ea"/>
                <a:cs typeface="Tahoma"/>
              </a:rPr>
              <a:t>i</a:t>
            </a:r>
            <a:r>
              <a:rPr kumimoji="0" lang="en-US" sz="2000" i="0" u="none" strike="noStrike" kern="1200" cap="none" normalizeH="0" baseline="0" noProof="0">
                <a:ln>
                  <a:noFill/>
                </a:ln>
                <a:solidFill>
                  <a:srgbClr val="666666"/>
                </a:solidFill>
                <a:effectLst/>
                <a:uLnTx/>
                <a:uFillTx/>
                <a:latin typeface="Tahoma"/>
                <a:ea typeface="+mn-ea"/>
                <a:cs typeface="Tahoma"/>
              </a:rPr>
              <a:t>nstitutions</a:t>
            </a:r>
            <a:r>
              <a:rPr kumimoji="0" lang="en-US" sz="2000" i="0" u="none" strike="noStrike" kern="1200" cap="none" normalizeH="0" baseline="30000" noProof="0">
                <a:ln>
                  <a:noFill/>
                </a:ln>
                <a:solidFill>
                  <a:srgbClr val="666666"/>
                </a:solidFill>
                <a:effectLst/>
                <a:uLnTx/>
                <a:uFillTx/>
                <a:latin typeface="Tahoma"/>
                <a:ea typeface="+mn-ea"/>
                <a:cs typeface="Tahoma"/>
              </a:rPr>
              <a:t>1</a:t>
            </a:r>
            <a:r>
              <a:rPr kumimoji="0" lang="en-US" sz="2000" i="0" u="none" strike="noStrike" kern="1200" cap="none" normalizeH="0" baseline="0" noProof="0">
                <a:ln>
                  <a:noFill/>
                </a:ln>
                <a:solidFill>
                  <a:srgbClr val="666666"/>
                </a:solidFill>
                <a:effectLst/>
                <a:uLnTx/>
                <a:uFillTx/>
                <a:latin typeface="Tahoma"/>
                <a:ea typeface="+mn-ea"/>
                <a:cs typeface="Tahoma"/>
              </a:rPr>
              <a:t> provides </a:t>
            </a:r>
            <a:r>
              <a:rPr lang="en-US" sz="2000" kern="1200">
                <a:solidFill>
                  <a:srgbClr val="666666"/>
                </a:solidFill>
                <a:latin typeface="Tahoma"/>
                <a:ea typeface="+mn-ea"/>
                <a:cs typeface="Tahoma"/>
              </a:rPr>
              <a:t>a full list of signs to identify all types of maltreatment. The National Policy for the Prevention of Bullying in Educational Institutions published by </a:t>
            </a:r>
            <a:r>
              <a:rPr lang="en-US" sz="2000" kern="1200" err="1">
                <a:solidFill>
                  <a:srgbClr val="666666"/>
                </a:solidFill>
                <a:latin typeface="Tahoma"/>
                <a:ea typeface="+mn-ea"/>
                <a:cs typeface="Tahoma"/>
              </a:rPr>
              <a:t>MoE</a:t>
            </a:r>
            <a:r>
              <a:rPr lang="en-US" sz="2000" kern="1200">
                <a:solidFill>
                  <a:srgbClr val="666666"/>
                </a:solidFill>
                <a:latin typeface="Tahoma"/>
                <a:ea typeface="+mn-ea"/>
                <a:cs typeface="Tahoma"/>
              </a:rPr>
              <a:t>, provides a complete framework for handling bullying and cyberbullying.</a:t>
            </a:r>
          </a:p>
          <a:p>
            <a:pPr marL="297815" marR="414655" indent="-285750">
              <a:lnSpc>
                <a:spcPct val="102299"/>
              </a:lnSpc>
              <a:spcBef>
                <a:spcPts val="1155"/>
              </a:spcBef>
              <a:buFont typeface="Arial" panose="020B0604020202020204" pitchFamily="34" charset="0"/>
              <a:buChar char="•"/>
              <a:tabLst>
                <a:tab pos="283210" algn="l"/>
                <a:tab pos="283845" algn="l"/>
              </a:tabLst>
            </a:pPr>
            <a:endParaRPr lang="en-US" sz="2000">
              <a:solidFill>
                <a:schemeClr val="tx1">
                  <a:lumMod val="65000"/>
                  <a:lumOff val="35000"/>
                </a:schemeClr>
              </a:solidFill>
              <a:latin typeface="Arial Unicode MS"/>
              <a:cs typeface="Arial Unicode MS"/>
            </a:endParaRPr>
          </a:p>
        </p:txBody>
      </p:sp>
      <p:sp>
        <p:nvSpPr>
          <p:cNvPr id="3" name="object 32">
            <a:extLst>
              <a:ext uri="{FF2B5EF4-FFF2-40B4-BE49-F238E27FC236}">
                <a16:creationId xmlns:a16="http://schemas.microsoft.com/office/drawing/2014/main" id="{F94281E4-7318-CF04-16F8-093981AE6DF9}"/>
              </a:ext>
            </a:extLst>
          </p:cNvPr>
          <p:cNvSpPr txBox="1"/>
          <p:nvPr/>
        </p:nvSpPr>
        <p:spPr>
          <a:xfrm>
            <a:off x="10433050" y="10683875"/>
            <a:ext cx="7438390" cy="190437"/>
          </a:xfrm>
          <a:prstGeom prst="rect">
            <a:avLst/>
          </a:prstGeom>
        </p:spPr>
        <p:txBody>
          <a:bodyPr vert="horz" wrap="square" lIns="0" tIns="13335" rIns="0" bIns="0" rtlCol="0">
            <a:spAutoFit/>
          </a:bodyPr>
          <a:lstStyle/>
          <a:p>
            <a:pPr marL="12700">
              <a:lnSpc>
                <a:spcPct val="100000"/>
              </a:lnSpc>
              <a:spcBef>
                <a:spcPts val="105"/>
              </a:spcBef>
            </a:pPr>
            <a:r>
              <a:rPr lang="en-US" sz="1150" i="1" spc="-85">
                <a:solidFill>
                  <a:srgbClr val="666666"/>
                </a:solidFill>
                <a:latin typeface="Lucida Sans"/>
                <a:cs typeface="Lucida Sans"/>
              </a:rPr>
              <a:t>1) The guide has been co-developed with the </a:t>
            </a:r>
            <a:r>
              <a:rPr lang="en-US" sz="1150" i="1" spc="-85" err="1">
                <a:solidFill>
                  <a:srgbClr val="666666"/>
                </a:solidFill>
                <a:latin typeface="Lucida Sans"/>
                <a:cs typeface="Lucida Sans"/>
              </a:rPr>
              <a:t>MoE</a:t>
            </a:r>
            <a:r>
              <a:rPr lang="en-US" sz="1150" i="1" spc="-85">
                <a:solidFill>
                  <a:srgbClr val="666666"/>
                </a:solidFill>
                <a:latin typeface="Lucida Sans"/>
                <a:cs typeface="Lucida Sans"/>
              </a:rPr>
              <a:t>  and ADEK</a:t>
            </a:r>
          </a:p>
        </p:txBody>
      </p:sp>
      <p:sp>
        <p:nvSpPr>
          <p:cNvPr id="4" name="object 35">
            <a:extLst>
              <a:ext uri="{FF2B5EF4-FFF2-40B4-BE49-F238E27FC236}">
                <a16:creationId xmlns:a16="http://schemas.microsoft.com/office/drawing/2014/main" id="{B640E1AB-10EE-C54D-A7E7-CA23F5D3CD98}"/>
              </a:ext>
            </a:extLst>
          </p:cNvPr>
          <p:cNvSpPr/>
          <p:nvPr/>
        </p:nvSpPr>
        <p:spPr>
          <a:xfrm>
            <a:off x="10476497" y="10581942"/>
            <a:ext cx="7434580" cy="0"/>
          </a:xfrm>
          <a:custGeom>
            <a:avLst/>
            <a:gdLst/>
            <a:ahLst/>
            <a:cxnLst/>
            <a:rect l="l" t="t" r="r" b="b"/>
            <a:pathLst>
              <a:path w="7434580">
                <a:moveTo>
                  <a:pt x="0" y="0"/>
                </a:moveTo>
                <a:lnTo>
                  <a:pt x="7434328" y="0"/>
                </a:lnTo>
              </a:path>
            </a:pathLst>
          </a:custGeom>
          <a:ln w="5235">
            <a:solidFill>
              <a:srgbClr val="666666"/>
            </a:solidFill>
          </a:ln>
        </p:spPr>
        <p:txBody>
          <a:bodyPr wrap="square" lIns="0" tIns="0" rIns="0" bIns="0" rtlCol="0"/>
          <a:lstStyle/>
          <a:p>
            <a:pPr algn="l" rtl="0"/>
            <a:endParaRPr/>
          </a:p>
        </p:txBody>
      </p:sp>
      <p:pic>
        <p:nvPicPr>
          <p:cNvPr id="6" name="Graphic 5">
            <a:extLst>
              <a:ext uri="{FF2B5EF4-FFF2-40B4-BE49-F238E27FC236}">
                <a16:creationId xmlns:a16="http://schemas.microsoft.com/office/drawing/2014/main" id="{7E5627B0-AFC5-A5CF-075D-FE47B696C4B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17844454" y="0"/>
            <a:ext cx="682048" cy="733718"/>
          </a:xfrm>
          <a:prstGeom prst="rect">
            <a:avLst/>
          </a:prstGeom>
        </p:spPr>
      </p:pic>
      <p:pic>
        <p:nvPicPr>
          <p:cNvPr id="7" name="Graphic 6">
            <a:extLst>
              <a:ext uri="{FF2B5EF4-FFF2-40B4-BE49-F238E27FC236}">
                <a16:creationId xmlns:a16="http://schemas.microsoft.com/office/drawing/2014/main" id="{4FA109A3-BF70-9725-120F-8931E312C5E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18572743" y="-6311"/>
            <a:ext cx="876934" cy="943368"/>
          </a:xfrm>
          <a:prstGeom prst="rect">
            <a:avLst/>
          </a:prstGeom>
        </p:spPr>
      </p:pic>
    </p:spTree>
    <p:extLst>
      <p:ext uri="{BB962C8B-B14F-4D97-AF65-F5344CB8AC3E}">
        <p14:creationId xmlns:p14="http://schemas.microsoft.com/office/powerpoint/2010/main" val="1720856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13" name="object 15">
            <a:extLst>
              <a:ext uri="{FF2B5EF4-FFF2-40B4-BE49-F238E27FC236}">
                <a16:creationId xmlns:a16="http://schemas.microsoft.com/office/drawing/2014/main" id="{270D0A59-D350-DB69-50F3-9C9F70FA647A}"/>
              </a:ext>
            </a:extLst>
          </p:cNvPr>
          <p:cNvSpPr/>
          <p:nvPr/>
        </p:nvSpPr>
        <p:spPr>
          <a:xfrm>
            <a:off x="0" y="0"/>
            <a:ext cx="9747251" cy="113087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chemeClr val="accent5">
              <a:lumMod val="20000"/>
              <a:lumOff val="80000"/>
            </a:schemeClr>
          </a:solidFill>
        </p:spPr>
        <p:txBody>
          <a:bodyPr wrap="square" lIns="0" tIns="0" rIns="0" bIns="0" rtlCol="0"/>
          <a:lstStyle/>
          <a:p>
            <a:pPr algn="l" rtl="0"/>
            <a:endParaRPr/>
          </a:p>
        </p:txBody>
      </p:sp>
      <p:sp>
        <p:nvSpPr>
          <p:cNvPr id="2" name="object 2">
            <a:extLst>
              <a:ext uri="{FF2B5EF4-FFF2-40B4-BE49-F238E27FC236}">
                <a16:creationId xmlns:a16="http://schemas.microsoft.com/office/drawing/2014/main" id="{3662DC6D-8449-E4E5-B848-64A1C103A655}"/>
              </a:ext>
            </a:extLst>
          </p:cNvPr>
          <p:cNvSpPr txBox="1">
            <a:spLocks/>
          </p:cNvSpPr>
          <p:nvPr/>
        </p:nvSpPr>
        <p:spPr>
          <a:xfrm>
            <a:off x="679449" y="681026"/>
            <a:ext cx="4648200" cy="512063"/>
          </a:xfrm>
          <a:prstGeom prst="rect">
            <a:avLst/>
          </a:prstGeom>
        </p:spPr>
        <p:txBody>
          <a:bodyPr vert="horz" wrap="square" lIns="0" tIns="1333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spcBef>
                <a:spcPts val="114"/>
              </a:spcBef>
            </a:pPr>
            <a:r>
              <a:rPr lang="en-US" sz="3600" b="1">
                <a:solidFill>
                  <a:srgbClr val="002060"/>
                </a:solidFill>
                <a:latin typeface="Tahoma"/>
                <a:cs typeface="Tahoma"/>
              </a:rPr>
              <a:t>PRINCIPLES</a:t>
            </a:r>
          </a:p>
        </p:txBody>
      </p:sp>
      <p:sp>
        <p:nvSpPr>
          <p:cNvPr id="15" name="object 22">
            <a:extLst>
              <a:ext uri="{FF2B5EF4-FFF2-40B4-BE49-F238E27FC236}">
                <a16:creationId xmlns:a16="http://schemas.microsoft.com/office/drawing/2014/main" id="{CE9A82B8-C3CD-B539-FA34-8A812D02C80A}"/>
              </a:ext>
            </a:extLst>
          </p:cNvPr>
          <p:cNvSpPr txBox="1"/>
          <p:nvPr/>
        </p:nvSpPr>
        <p:spPr>
          <a:xfrm>
            <a:off x="679449" y="1640968"/>
            <a:ext cx="8915401" cy="8722260"/>
          </a:xfrm>
          <a:prstGeom prst="rect">
            <a:avLst/>
          </a:prstGeom>
          <a:noFill/>
        </p:spPr>
        <p:txBody>
          <a:bodyPr vert="horz" wrap="square" lIns="0" tIns="12065" rIns="0" bIns="0" numCol="1" rtlCol="0">
            <a:spAutoFit/>
          </a:bodyPr>
          <a:lstStyle/>
          <a:p>
            <a:pPr marL="297815" marR="501015" indent="-285750">
              <a:spcBef>
                <a:spcPts val="1200"/>
              </a:spcBef>
              <a:buFont typeface="Arial" panose="020B0604020202020204" pitchFamily="34" charset="0"/>
              <a:buChar char="•"/>
              <a:tabLst>
                <a:tab pos="283210" algn="l"/>
                <a:tab pos="283845" algn="l"/>
              </a:tabLst>
            </a:pPr>
            <a:r>
              <a:rPr lang="en-US" sz="1900">
                <a:solidFill>
                  <a:schemeClr val="tx1">
                    <a:lumMod val="65000"/>
                    <a:lumOff val="35000"/>
                  </a:schemeClr>
                </a:solidFill>
                <a:latin typeface="Arial Unicode MS"/>
                <a:cs typeface="Arial Unicode MS"/>
              </a:rPr>
              <a:t>Best interests and safety of students shall be a primary consideration in all actions taken to safeguard their </a:t>
            </a:r>
            <a:r>
              <a:rPr lang="en-US" sz="1900">
                <a:solidFill>
                  <a:schemeClr val="tx1">
                    <a:lumMod val="65000"/>
                    <a:lumOff val="35000"/>
                  </a:schemeClr>
                </a:solidFill>
              </a:rPr>
              <a:t>wellbeing and quality of life.</a:t>
            </a:r>
          </a:p>
          <a:p>
            <a:pPr marL="297815" marR="451484" indent="-285750">
              <a:spcBef>
                <a:spcPts val="1200"/>
              </a:spcBef>
              <a:buFont typeface="Arial" panose="020B0604020202020204" pitchFamily="34" charset="0"/>
              <a:buChar char="•"/>
              <a:tabLst>
                <a:tab pos="283210" algn="l"/>
                <a:tab pos="283845" algn="l"/>
              </a:tabLst>
            </a:pPr>
            <a:r>
              <a:rPr lang="en-US" sz="1900">
                <a:solidFill>
                  <a:schemeClr val="tx1">
                    <a:lumMod val="65000"/>
                    <a:lumOff val="35000"/>
                  </a:schemeClr>
                </a:solidFill>
              </a:rPr>
              <a:t>It is the responsibility of the educational institution, the principal and all staff within the organization</a:t>
            </a:r>
            <a:r>
              <a:rPr lang="en-US" sz="1900">
                <a:solidFill>
                  <a:schemeClr val="tx1">
                    <a:lumMod val="65000"/>
                    <a:lumOff val="35000"/>
                  </a:schemeClr>
                </a:solidFill>
                <a:latin typeface="Arial Unicode MS"/>
                <a:cs typeface="Arial Unicode MS"/>
              </a:rPr>
              <a:t>, to recognize, respond to, and manage student protection risk and impact to the best of their ability.</a:t>
            </a:r>
          </a:p>
          <a:p>
            <a:pPr marL="297815" marR="146685" indent="-285750">
              <a:spcBef>
                <a:spcPts val="1200"/>
              </a:spcBef>
              <a:buFont typeface="Arial" panose="020B0604020202020204" pitchFamily="34" charset="0"/>
              <a:buChar char="•"/>
              <a:tabLst>
                <a:tab pos="283210" algn="l"/>
                <a:tab pos="283845" algn="l"/>
              </a:tabLst>
            </a:pPr>
            <a:r>
              <a:rPr lang="en-US" sz="1900">
                <a:solidFill>
                  <a:schemeClr val="tx1">
                    <a:lumMod val="65000"/>
                    <a:lumOff val="35000"/>
                  </a:schemeClr>
                </a:solidFill>
                <a:latin typeface="Arial Unicode MS"/>
                <a:cs typeface="Arial Unicode MS"/>
              </a:rPr>
              <a:t>All mandated reporters and educational institution staff and volunteers are responsible and accountable for ensuring student protection measures are in place, applied, and upheld.</a:t>
            </a:r>
          </a:p>
          <a:p>
            <a:pPr marL="297815" marR="9525" indent="-285750">
              <a:spcBef>
                <a:spcPts val="1200"/>
              </a:spcBef>
              <a:buFont typeface="Arial" panose="020B0604020202020204" pitchFamily="34" charset="0"/>
              <a:buChar char="•"/>
              <a:tabLst>
                <a:tab pos="283210" algn="l"/>
                <a:tab pos="283845" algn="l"/>
              </a:tabLst>
            </a:pPr>
            <a:r>
              <a:rPr lang="en-US" sz="1900">
                <a:solidFill>
                  <a:schemeClr val="tx1">
                    <a:lumMod val="65000"/>
                    <a:lumOff val="35000"/>
                  </a:schemeClr>
                </a:solidFill>
                <a:latin typeface="Arial Unicode MS"/>
                <a:cs typeface="Arial Unicode MS"/>
              </a:rPr>
              <a:t>All mandated reporters and educational institution staff and volunteers will be protected and will not be affected or penalized in any manner for carrying out their responsibilities to report and safeguard students from all forms of maltreatment.</a:t>
            </a:r>
          </a:p>
          <a:p>
            <a:pPr marL="283210" marR="0" lvl="0" indent="-271145" algn="l" defTabSz="914400" rtl="0" eaLnBrk="1" fontAlgn="auto" latinLnBrk="0" hangingPunct="1">
              <a:spcBef>
                <a:spcPts val="1200"/>
              </a:spcBef>
              <a:buClrTx/>
              <a:buSzTx/>
              <a:buFontTx/>
              <a:buChar char="•"/>
              <a:tabLst>
                <a:tab pos="283210" algn="l"/>
                <a:tab pos="283845" algn="l"/>
              </a:tabLst>
              <a:defRPr/>
            </a:pPr>
            <a:r>
              <a:rPr kumimoji="0" lang="en-US" sz="1900" b="0" i="0" u="none" strike="noStrike" kern="1200" cap="none" normalizeH="0" baseline="0" noProof="0">
                <a:ln>
                  <a:noFill/>
                </a:ln>
                <a:solidFill>
                  <a:schemeClr val="tx1">
                    <a:lumMod val="65000"/>
                    <a:lumOff val="35000"/>
                  </a:schemeClr>
                </a:solidFill>
                <a:effectLst/>
                <a:uLnTx/>
                <a:uFillTx/>
                <a:latin typeface="Arial Unicode MS"/>
                <a:ea typeface="+mn-ea"/>
                <a:cs typeface="Arial Unicode MS"/>
              </a:rPr>
              <a:t>All students have the right to be:</a:t>
            </a:r>
          </a:p>
          <a:p>
            <a:pPr marL="640715" lvl="1" indent="-353695">
              <a:spcBef>
                <a:spcPts val="1200"/>
              </a:spcBef>
              <a:buFontTx/>
              <a:buAutoNum type="alphaLcPeriod"/>
              <a:tabLst>
                <a:tab pos="640715" algn="l"/>
                <a:tab pos="641350" algn="l"/>
              </a:tabLst>
              <a:defRPr/>
            </a:pPr>
            <a:r>
              <a:rPr kumimoji="0" lang="en-US" sz="1900" b="0" i="0" u="none" strike="noStrike" kern="1200" cap="none" normalizeH="0" baseline="0" noProof="0">
                <a:ln>
                  <a:noFill/>
                </a:ln>
                <a:solidFill>
                  <a:schemeClr val="tx1">
                    <a:lumMod val="65000"/>
                    <a:lumOff val="35000"/>
                  </a:schemeClr>
                </a:solidFill>
                <a:effectLst/>
                <a:uLnTx/>
                <a:uFillTx/>
                <a:latin typeface="Arial Unicode MS"/>
                <a:ea typeface="+mn-ea"/>
                <a:cs typeface="Arial Unicode MS"/>
              </a:rPr>
              <a:t>Heard and to express their </a:t>
            </a:r>
            <a:r>
              <a:rPr lang="en-US" sz="1900">
                <a:solidFill>
                  <a:schemeClr val="tx1">
                    <a:lumMod val="65000"/>
                    <a:lumOff val="35000"/>
                  </a:schemeClr>
                </a:solidFill>
                <a:latin typeface="Arial Unicode MS"/>
                <a:cs typeface="Arial Unicode MS"/>
              </a:rPr>
              <a:t>voice/opinion </a:t>
            </a:r>
            <a:r>
              <a:rPr kumimoji="0" lang="en-US" sz="1900" b="0" i="0" u="none" strike="noStrike" kern="1200" cap="none" normalizeH="0" baseline="0" noProof="0">
                <a:ln>
                  <a:noFill/>
                </a:ln>
                <a:solidFill>
                  <a:schemeClr val="tx1">
                    <a:lumMod val="65000"/>
                    <a:lumOff val="35000"/>
                  </a:schemeClr>
                </a:solidFill>
                <a:effectLst/>
                <a:uLnTx/>
                <a:uFillTx/>
                <a:latin typeface="Arial Unicode MS"/>
                <a:ea typeface="+mn-ea"/>
                <a:cs typeface="Arial Unicode MS"/>
              </a:rPr>
              <a:t>and participate in decision-making processes in the educational institution (to be determined by institution staff).</a:t>
            </a:r>
          </a:p>
          <a:p>
            <a:pPr marL="640715" marR="0" lvl="1" indent="-353695" algn="l" defTabSz="914400" rtl="0" eaLnBrk="1" fontAlgn="auto" latinLnBrk="0" hangingPunct="1">
              <a:spcBef>
                <a:spcPts val="1200"/>
              </a:spcBef>
              <a:buClrTx/>
              <a:buSzTx/>
              <a:buFontTx/>
              <a:buAutoNum type="alphaLcPeriod"/>
              <a:tabLst>
                <a:tab pos="640715" algn="l"/>
                <a:tab pos="641350" algn="l"/>
              </a:tabLst>
              <a:defRPr/>
            </a:pPr>
            <a:r>
              <a:rPr kumimoji="0" lang="en-US" sz="1900" b="0" i="0" u="none" strike="noStrike" kern="1200" cap="none" normalizeH="0" baseline="0" noProof="0">
                <a:ln>
                  <a:noFill/>
                </a:ln>
                <a:solidFill>
                  <a:schemeClr val="tx1">
                    <a:lumMod val="65000"/>
                    <a:lumOff val="35000"/>
                  </a:schemeClr>
                </a:solidFill>
                <a:effectLst/>
                <a:uLnTx/>
                <a:uFillTx/>
                <a:latin typeface="Arial Unicode MS"/>
                <a:ea typeface="+mn-ea"/>
                <a:cs typeface="Arial Unicode MS"/>
              </a:rPr>
              <a:t>Treated with dignity and respect.</a:t>
            </a:r>
          </a:p>
          <a:p>
            <a:pPr marL="640715" marR="0" lvl="1" indent="-353695" algn="l" defTabSz="914400" rtl="0" eaLnBrk="1" fontAlgn="auto" latinLnBrk="0" hangingPunct="1">
              <a:spcBef>
                <a:spcPts val="1200"/>
              </a:spcBef>
              <a:buClrTx/>
              <a:buSzTx/>
              <a:buFontTx/>
              <a:buAutoNum type="alphaLcPeriod"/>
              <a:tabLst>
                <a:tab pos="640715" algn="l"/>
                <a:tab pos="641350" algn="l"/>
              </a:tabLst>
              <a:defRPr/>
            </a:pPr>
            <a:r>
              <a:rPr kumimoji="0" lang="en-US" sz="1900" b="0" i="0" u="none" strike="noStrike" kern="1200" cap="none" normalizeH="0" baseline="0" noProof="0">
                <a:ln>
                  <a:noFill/>
                </a:ln>
                <a:solidFill>
                  <a:schemeClr val="tx1">
                    <a:lumMod val="65000"/>
                    <a:lumOff val="35000"/>
                  </a:schemeClr>
                </a:solidFill>
                <a:effectLst/>
                <a:uLnTx/>
                <a:uFillTx/>
                <a:latin typeface="Arial Unicode MS"/>
                <a:ea typeface="+mn-ea"/>
                <a:cs typeface="Arial Unicode MS"/>
              </a:rPr>
              <a:t>Treated with fairness and justice.</a:t>
            </a:r>
          </a:p>
          <a:p>
            <a:pPr marL="640715" marR="0" lvl="1" indent="-353695" algn="l" defTabSz="914400" rtl="0" eaLnBrk="1" fontAlgn="auto" latinLnBrk="0" hangingPunct="1">
              <a:spcBef>
                <a:spcPts val="1200"/>
              </a:spcBef>
              <a:buClrTx/>
              <a:buSzTx/>
              <a:buFontTx/>
              <a:buAutoNum type="alphaLcPeriod"/>
              <a:tabLst>
                <a:tab pos="640715" algn="l"/>
                <a:tab pos="641350" algn="l"/>
              </a:tabLst>
              <a:defRPr/>
            </a:pPr>
            <a:r>
              <a:rPr kumimoji="0" lang="en-US" sz="1900" b="0" i="0" u="none" strike="noStrike" kern="1200" cap="none" normalizeH="0" baseline="0" noProof="0">
                <a:ln>
                  <a:noFill/>
                </a:ln>
                <a:solidFill>
                  <a:schemeClr val="tx1">
                    <a:lumMod val="65000"/>
                    <a:lumOff val="35000"/>
                  </a:schemeClr>
                </a:solidFill>
                <a:effectLst/>
                <a:uLnTx/>
                <a:uFillTx/>
                <a:latin typeface="Arial Unicode MS"/>
                <a:ea typeface="+mn-ea"/>
                <a:cs typeface="Arial Unicode MS"/>
              </a:rPr>
              <a:t>by an advocate and provided with necessary support when </a:t>
            </a:r>
            <a:r>
              <a:rPr lang="en-US" sz="1900" kern="1200" err="1">
                <a:solidFill>
                  <a:schemeClr val="tx1">
                    <a:lumMod val="65000"/>
                    <a:lumOff val="35000"/>
                  </a:schemeClr>
                </a:solidFill>
                <a:ea typeface="+mn-ea"/>
              </a:rPr>
              <a:t>neeSupportedded</a:t>
            </a:r>
            <a:r>
              <a:rPr lang="en-US" sz="1900" kern="1200">
                <a:solidFill>
                  <a:schemeClr val="tx1">
                    <a:lumMod val="65000"/>
                    <a:lumOff val="35000"/>
                  </a:schemeClr>
                </a:solidFill>
                <a:ea typeface="+mn-ea"/>
              </a:rPr>
              <a:t>.</a:t>
            </a:r>
          </a:p>
          <a:p>
            <a:pPr marL="640715" marR="0" lvl="1" indent="-353695" algn="l" defTabSz="914400" rtl="0" eaLnBrk="1" fontAlgn="auto" latinLnBrk="0" hangingPunct="1">
              <a:spcBef>
                <a:spcPts val="1200"/>
              </a:spcBef>
              <a:buClrTx/>
              <a:buSzTx/>
              <a:buFontTx/>
              <a:buAutoNum type="alphaLcPeriod"/>
              <a:tabLst>
                <a:tab pos="640715" algn="l"/>
                <a:tab pos="641350" algn="l"/>
              </a:tabLst>
              <a:defRPr/>
            </a:pPr>
            <a:r>
              <a:rPr kumimoji="0" lang="en-US" sz="1900" b="0" i="0" u="none" strike="noStrike" kern="1200" cap="none" normalizeH="0" baseline="0" noProof="0">
                <a:ln>
                  <a:noFill/>
                </a:ln>
                <a:solidFill>
                  <a:schemeClr val="tx1">
                    <a:lumMod val="65000"/>
                    <a:lumOff val="35000"/>
                  </a:schemeClr>
                </a:solidFill>
                <a:effectLst/>
                <a:uLnTx/>
                <a:uFillTx/>
                <a:latin typeface="Arial Unicode MS"/>
                <a:ea typeface="+mn-ea"/>
                <a:cs typeface="Arial Unicode MS"/>
              </a:rPr>
              <a:t>Safe, protected from harm and aware of what constitutes risk and harm.</a:t>
            </a:r>
          </a:p>
          <a:p>
            <a:pPr marL="297815" marR="549910" lvl="0" indent="-285750" algn="l" defTabSz="914400" rtl="0" eaLnBrk="1" fontAlgn="auto" latinLnBrk="0" hangingPunct="1">
              <a:spcBef>
                <a:spcPts val="1200"/>
              </a:spcBef>
              <a:buClrTx/>
              <a:buSzTx/>
              <a:buFont typeface="Arial" panose="020B0604020202020204" pitchFamily="34" charset="0"/>
              <a:buChar char="•"/>
              <a:tabLst>
                <a:tab pos="283210" algn="l"/>
                <a:tab pos="283845" algn="l"/>
              </a:tabLst>
              <a:defRPr/>
            </a:pPr>
            <a:r>
              <a:rPr lang="en-US" sz="1900" kern="1200">
                <a:solidFill>
                  <a:schemeClr val="tx1">
                    <a:lumMod val="65000"/>
                    <a:lumOff val="35000"/>
                  </a:schemeClr>
                </a:solidFill>
                <a:ea typeface="+mn-ea"/>
              </a:rPr>
              <a:t>Zero tolerance of all forms of maltreatment is to be adopted ensuring compliance to these standards in all actions and environments pertaining to students.</a:t>
            </a:r>
          </a:p>
          <a:p>
            <a:pPr marL="297815" marR="9525" indent="-285750">
              <a:spcBef>
                <a:spcPts val="1200"/>
              </a:spcBef>
              <a:buFont typeface="Arial" panose="020B0604020202020204" pitchFamily="34" charset="0"/>
              <a:buChar char="•"/>
              <a:tabLst>
                <a:tab pos="283210" algn="l"/>
                <a:tab pos="283845" algn="l"/>
              </a:tabLst>
            </a:pPr>
            <a:endParaRPr lang="en-US" sz="1900">
              <a:solidFill>
                <a:schemeClr val="tx1">
                  <a:lumMod val="65000"/>
                  <a:lumOff val="35000"/>
                </a:schemeClr>
              </a:solidFill>
              <a:latin typeface="Arial Unicode MS"/>
              <a:cs typeface="Arial Unicode MS"/>
            </a:endParaRPr>
          </a:p>
        </p:txBody>
      </p:sp>
      <p:sp>
        <p:nvSpPr>
          <p:cNvPr id="11" name="object 2">
            <a:extLst>
              <a:ext uri="{FF2B5EF4-FFF2-40B4-BE49-F238E27FC236}">
                <a16:creationId xmlns:a16="http://schemas.microsoft.com/office/drawing/2014/main" id="{27BFE4D4-BBF5-113D-38B8-9956FE6187BF}"/>
              </a:ext>
            </a:extLst>
          </p:cNvPr>
          <p:cNvSpPr txBox="1">
            <a:spLocks/>
          </p:cNvSpPr>
          <p:nvPr/>
        </p:nvSpPr>
        <p:spPr>
          <a:xfrm>
            <a:off x="10356850" y="702833"/>
            <a:ext cx="6407150" cy="512063"/>
          </a:xfrm>
          <a:prstGeom prst="rect">
            <a:avLst/>
          </a:prstGeom>
        </p:spPr>
        <p:txBody>
          <a:bodyPr vert="horz" wrap="square" lIns="0" tIns="1333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spcBef>
                <a:spcPts val="114"/>
              </a:spcBef>
            </a:pPr>
            <a:r>
              <a:rPr lang="en-US" sz="3600" b="1">
                <a:solidFill>
                  <a:srgbClr val="002060"/>
                </a:solidFill>
                <a:latin typeface="Tahoma"/>
                <a:cs typeface="Tahoma"/>
              </a:rPr>
              <a:t>PROVISIONS</a:t>
            </a:r>
          </a:p>
        </p:txBody>
      </p:sp>
      <p:sp>
        <p:nvSpPr>
          <p:cNvPr id="12" name="object 22">
            <a:extLst>
              <a:ext uri="{FF2B5EF4-FFF2-40B4-BE49-F238E27FC236}">
                <a16:creationId xmlns:a16="http://schemas.microsoft.com/office/drawing/2014/main" id="{71AA617E-28A2-0D38-77AA-E194901C94D5}"/>
              </a:ext>
            </a:extLst>
          </p:cNvPr>
          <p:cNvSpPr txBox="1"/>
          <p:nvPr/>
        </p:nvSpPr>
        <p:spPr>
          <a:xfrm>
            <a:off x="10356850" y="1640968"/>
            <a:ext cx="9067802" cy="9122369"/>
          </a:xfrm>
          <a:prstGeom prst="rect">
            <a:avLst/>
          </a:prstGeom>
          <a:noFill/>
        </p:spPr>
        <p:txBody>
          <a:bodyPr vert="horz" wrap="square" lIns="0" tIns="12065" rIns="0" bIns="0" numCol="1" rtlCol="0">
            <a:spAutoFit/>
          </a:bodyPr>
          <a:lstStyle/>
          <a:p>
            <a:pPr marL="12700">
              <a:spcBef>
                <a:spcPts val="1200"/>
              </a:spcBef>
              <a:tabLst>
                <a:tab pos="370205" algn="l"/>
              </a:tabLst>
            </a:pPr>
            <a:r>
              <a:rPr lang="en-US" sz="1900" b="1">
                <a:solidFill>
                  <a:schemeClr val="tx1">
                    <a:lumMod val="65000"/>
                    <a:lumOff val="35000"/>
                  </a:schemeClr>
                </a:solidFill>
                <a:latin typeface="Tahoma"/>
                <a:cs typeface="Tahoma"/>
              </a:rPr>
              <a:t>1. Legal obligations and rights:</a:t>
            </a:r>
            <a:endParaRPr lang="en-US" sz="1900">
              <a:solidFill>
                <a:schemeClr val="tx1">
                  <a:lumMod val="65000"/>
                  <a:lumOff val="35000"/>
                </a:schemeClr>
              </a:solidFill>
              <a:latin typeface="Tahoma"/>
              <a:cs typeface="Tahoma"/>
            </a:endParaRPr>
          </a:p>
          <a:p>
            <a:pPr marL="311150" marR="82550" indent="-311150">
              <a:spcBef>
                <a:spcPts val="1200"/>
              </a:spcBef>
              <a:buFont typeface="Arial" panose="020B0604020202020204" pitchFamily="34" charset="0"/>
              <a:buChar char="•"/>
              <a:tabLst>
                <a:tab pos="22225" algn="l"/>
                <a:tab pos="566738" algn="l"/>
              </a:tabLst>
            </a:pPr>
            <a:r>
              <a:rPr lang="en-US" sz="1900">
                <a:solidFill>
                  <a:schemeClr val="tx1">
                    <a:lumMod val="65000"/>
                    <a:lumOff val="35000"/>
                  </a:schemeClr>
                </a:solidFill>
                <a:latin typeface="Arial Unicode MS"/>
                <a:cs typeface="Arial Unicode MS"/>
              </a:rPr>
              <a:t>This document was developed in line with federal student protection </a:t>
            </a:r>
            <a:r>
              <a:rPr lang="en-US" sz="1900" kern="1200">
                <a:solidFill>
                  <a:schemeClr val="tx1">
                    <a:lumMod val="65000"/>
                    <a:lumOff val="35000"/>
                  </a:schemeClr>
                </a:solidFill>
                <a:ea typeface="+mn-ea"/>
              </a:rPr>
              <a:t>policy</a:t>
            </a:r>
            <a:r>
              <a:rPr lang="en-US" sz="1900">
                <a:solidFill>
                  <a:schemeClr val="tx1">
                    <a:lumMod val="65000"/>
                    <a:lumOff val="35000"/>
                  </a:schemeClr>
                </a:solidFill>
                <a:latin typeface="Arial Unicode MS"/>
                <a:cs typeface="Arial Unicode MS"/>
              </a:rPr>
              <a:t> and related regulations and policies.</a:t>
            </a:r>
            <a:r>
              <a:rPr lang="en-US" sz="1900" baseline="30000">
                <a:solidFill>
                  <a:schemeClr val="tx1">
                    <a:lumMod val="65000"/>
                    <a:lumOff val="35000"/>
                  </a:schemeClr>
                </a:solidFill>
                <a:latin typeface="Arial Unicode MS"/>
                <a:cs typeface="Arial Unicode MS"/>
              </a:rPr>
              <a:t>2</a:t>
            </a:r>
          </a:p>
          <a:p>
            <a:pPr marL="311150" marR="82550" indent="-311150">
              <a:spcBef>
                <a:spcPts val="1200"/>
              </a:spcBef>
              <a:buFont typeface="Arial" panose="020B0604020202020204" pitchFamily="34" charset="0"/>
              <a:buChar char="•"/>
              <a:tabLst>
                <a:tab pos="22225" algn="l"/>
                <a:tab pos="566738" algn="l"/>
              </a:tabLst>
            </a:pPr>
            <a:r>
              <a:rPr lang="en-US" sz="1900">
                <a:solidFill>
                  <a:schemeClr val="tx1">
                    <a:lumMod val="65000"/>
                    <a:lumOff val="35000"/>
                  </a:schemeClr>
                </a:solidFill>
                <a:latin typeface="Arial Unicode MS"/>
                <a:cs typeface="Arial Unicode MS"/>
              </a:rPr>
              <a:t>All educational institutions shall comply with the provisions of this policy. Every educational institution shall develop and publish a student protection policy to protect students from </a:t>
            </a:r>
            <a:r>
              <a:rPr lang="en-US" sz="1900" kern="1200">
                <a:solidFill>
                  <a:schemeClr val="tx1">
                    <a:lumMod val="65000"/>
                    <a:lumOff val="35000"/>
                  </a:schemeClr>
                </a:solidFill>
                <a:ea typeface="+mn-ea"/>
              </a:rPr>
              <a:t>any form of maltreatment to meet the minimum standards of what is included in this policy and does not contradict any of its provisions. Institutions may equally adopt the current policy as their own and publish it on their website.</a:t>
            </a:r>
          </a:p>
          <a:p>
            <a:pPr marL="311150" marR="5080" indent="-311150">
              <a:spcBef>
                <a:spcPts val="1200"/>
              </a:spcBef>
              <a:buFont typeface="Arial" panose="020B0604020202020204" pitchFamily="34" charset="0"/>
              <a:buChar char="•"/>
              <a:tabLst>
                <a:tab pos="22225" algn="l"/>
                <a:tab pos="566738" algn="l"/>
              </a:tabLst>
            </a:pPr>
            <a:r>
              <a:rPr lang="en-US" sz="1900">
                <a:solidFill>
                  <a:schemeClr val="tx1">
                    <a:lumMod val="65000"/>
                    <a:lumOff val="35000"/>
                  </a:schemeClr>
                </a:solidFill>
                <a:latin typeface="Arial Unicode MS"/>
                <a:cs typeface="Arial Unicode MS"/>
              </a:rPr>
              <a:t>All educational institutions shall comply with the Handling Student Maltreatment Concerns within Educational Institutions guide</a:t>
            </a:r>
            <a:r>
              <a:rPr lang="en-US" sz="1900" kern="1200">
                <a:solidFill>
                  <a:schemeClr val="tx1">
                    <a:lumMod val="65000"/>
                    <a:lumOff val="35000"/>
                  </a:schemeClr>
                </a:solidFill>
                <a:ea typeface="+mn-ea"/>
              </a:rPr>
              <a:t> when dealing with abuse-related offenses that are reported and/or occurring in an educational institution.</a:t>
            </a:r>
          </a:p>
          <a:p>
            <a:pPr marL="311150" marR="45720" indent="-311150">
              <a:spcBef>
                <a:spcPts val="1200"/>
              </a:spcBef>
              <a:buFont typeface="Arial" panose="020B0604020202020204" pitchFamily="34" charset="0"/>
              <a:buChar char="•"/>
              <a:tabLst>
                <a:tab pos="22225" algn="l"/>
                <a:tab pos="566738" algn="l"/>
              </a:tabLst>
            </a:pPr>
            <a:r>
              <a:rPr lang="en-US" sz="1900">
                <a:solidFill>
                  <a:schemeClr val="tx1">
                    <a:lumMod val="65000"/>
                    <a:lumOff val="35000"/>
                  </a:schemeClr>
                </a:solidFill>
                <a:latin typeface="Arial Unicode MS"/>
                <a:cs typeface="Arial Unicode MS"/>
              </a:rPr>
              <a:t>Educational institutions shall ensure that the student protection policy has been communicated, understood and agreed to by all relevant institution stakeholders (board members, </a:t>
            </a:r>
            <a:r>
              <a:rPr lang="en-US" sz="1900" kern="1200">
                <a:solidFill>
                  <a:schemeClr val="tx1">
                    <a:lumMod val="65000"/>
                    <a:lumOff val="35000"/>
                  </a:schemeClr>
                </a:solidFill>
                <a:ea typeface="+mn-ea"/>
              </a:rPr>
              <a:t>admin</a:t>
            </a:r>
            <a:r>
              <a:rPr lang="en-US" sz="1900">
                <a:solidFill>
                  <a:schemeClr val="tx1">
                    <a:lumMod val="65000"/>
                    <a:lumOff val="35000"/>
                  </a:schemeClr>
                </a:solidFill>
                <a:latin typeface="Arial Unicode MS"/>
                <a:cs typeface="Arial Unicode MS"/>
              </a:rPr>
              <a:t> staff and volunteers, parents/guardians, and students). Students shall receive a student-friendly version of </a:t>
            </a:r>
            <a:r>
              <a:rPr lang="en-US" sz="1900" kern="1200">
                <a:solidFill>
                  <a:schemeClr val="tx1">
                    <a:lumMod val="65000"/>
                    <a:lumOff val="35000"/>
                  </a:schemeClr>
                </a:solidFill>
                <a:ea typeface="+mn-ea"/>
              </a:rPr>
              <a:t>this</a:t>
            </a:r>
            <a:r>
              <a:rPr lang="en-US" sz="1900">
                <a:solidFill>
                  <a:schemeClr val="tx1">
                    <a:lumMod val="65000"/>
                    <a:lumOff val="35000"/>
                  </a:schemeClr>
                </a:solidFill>
                <a:latin typeface="Arial Unicode MS"/>
                <a:cs typeface="Arial Unicode MS"/>
              </a:rPr>
              <a:t> document, and their assent should be obtained when any student protection concerns are raised.</a:t>
            </a:r>
          </a:p>
          <a:p>
            <a:pPr marL="298450" indent="-285750">
              <a:spcBef>
                <a:spcPts val="1200"/>
              </a:spcBef>
              <a:buFont typeface="Arial" panose="020B0604020202020204" pitchFamily="34" charset="0"/>
              <a:buChar char="•"/>
              <a:tabLst>
                <a:tab pos="370205" algn="l"/>
              </a:tabLst>
            </a:pPr>
            <a:r>
              <a:rPr lang="en-US" sz="1900">
                <a:solidFill>
                  <a:schemeClr val="tx1">
                    <a:lumMod val="65000"/>
                    <a:lumOff val="35000"/>
                  </a:schemeClr>
                </a:solidFill>
              </a:rPr>
              <a:t>The educational institution and its principal are responsible for students’ rights and protection from what might threaten the child's physical, psychological, moral, or mental safety, including </a:t>
            </a:r>
            <a:r>
              <a:rPr lang="en-US" sz="1900" kern="1200">
                <a:solidFill>
                  <a:schemeClr val="tx1">
                    <a:lumMod val="65000"/>
                    <a:lumOff val="35000"/>
                  </a:schemeClr>
                </a:solidFill>
                <a:ea typeface="+mn-ea"/>
              </a:rPr>
              <a:t>maltreatment in </a:t>
            </a:r>
            <a:r>
              <a:rPr lang="en-US" sz="1900">
                <a:solidFill>
                  <a:schemeClr val="tx1">
                    <a:lumMod val="65000"/>
                    <a:lumOff val="35000"/>
                  </a:schemeClr>
                </a:solidFill>
              </a:rPr>
              <a:t>the educational environment. The principal acts as the primary person who is responsible for all students while they are under the educational institution’ supervision and shall take responsibilities that fall under this role.</a:t>
            </a:r>
          </a:p>
          <a:p>
            <a:pPr marL="298450" indent="-285750">
              <a:spcBef>
                <a:spcPts val="1200"/>
              </a:spcBef>
              <a:buFont typeface="Arial" panose="020B0604020202020204" pitchFamily="34" charset="0"/>
              <a:buChar char="•"/>
              <a:tabLst>
                <a:tab pos="370205" algn="l"/>
              </a:tabLst>
            </a:pPr>
            <a:r>
              <a:rPr lang="en-US" sz="1900">
                <a:solidFill>
                  <a:schemeClr val="tx1">
                    <a:lumMod val="65000"/>
                    <a:lumOff val="35000"/>
                  </a:schemeClr>
                </a:solidFill>
                <a:ea typeface="Arial Unicode MS" panose="020B0604020202020204" pitchFamily="34" charset="-128"/>
              </a:rPr>
              <a:t>All students have equal rights to care, protection and safety in all educational institutions. Educational institutions are fully responsible for the care, protection and safety of students while students are under the institution’s supervision in accordance with th</a:t>
            </a:r>
            <a:r>
              <a:rPr lang="en-US" sz="1900" kern="1200">
                <a:solidFill>
                  <a:schemeClr val="tx1">
                    <a:lumMod val="65000"/>
                    <a:lumOff val="35000"/>
                  </a:schemeClr>
                </a:solidFill>
                <a:ea typeface="+mn-ea"/>
              </a:rPr>
              <a:t>e enforced legislations in the country.</a:t>
            </a:r>
          </a:p>
        </p:txBody>
      </p:sp>
      <p:pic>
        <p:nvPicPr>
          <p:cNvPr id="18" name="Graphic 17">
            <a:extLst>
              <a:ext uri="{FF2B5EF4-FFF2-40B4-BE49-F238E27FC236}">
                <a16:creationId xmlns:a16="http://schemas.microsoft.com/office/drawing/2014/main" id="{76E8501D-E3CE-9A0D-77F7-63339C39808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8480485" y="95621"/>
            <a:ext cx="1564359" cy="1682871"/>
          </a:xfrm>
          <a:prstGeom prst="rect">
            <a:avLst/>
          </a:prstGeom>
        </p:spPr>
      </p:pic>
      <p:pic>
        <p:nvPicPr>
          <p:cNvPr id="19" name="Graphic 18">
            <a:extLst>
              <a:ext uri="{FF2B5EF4-FFF2-40B4-BE49-F238E27FC236}">
                <a16:creationId xmlns:a16="http://schemas.microsoft.com/office/drawing/2014/main" id="{1E003745-8C9B-A6DA-AB42-A323AE60561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59769" y="489030"/>
            <a:ext cx="896052" cy="896052"/>
          </a:xfrm>
          <a:prstGeom prst="rect">
            <a:avLst/>
          </a:prstGeom>
        </p:spPr>
      </p:pic>
      <p:sp>
        <p:nvSpPr>
          <p:cNvPr id="20" name="Oval 19">
            <a:extLst>
              <a:ext uri="{FF2B5EF4-FFF2-40B4-BE49-F238E27FC236}">
                <a16:creationId xmlns:a16="http://schemas.microsoft.com/office/drawing/2014/main" id="{B4BBF283-469F-F9CC-54A8-F121A0D0E126}"/>
              </a:ext>
            </a:extLst>
          </p:cNvPr>
          <p:cNvSpPr/>
          <p:nvPr/>
        </p:nvSpPr>
        <p:spPr>
          <a:xfrm>
            <a:off x="4340458" y="325079"/>
            <a:ext cx="966087" cy="966087"/>
          </a:xfrm>
          <a:prstGeom prst="ellipse">
            <a:avLst/>
          </a:prstGeom>
          <a:solidFill>
            <a:schemeClr val="accent5">
              <a:lumMod val="40000"/>
              <a:lumOff val="6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Tahoma" panose="020B0604030504040204" pitchFamily="34" charset="0"/>
              <a:ea typeface="Tahoma" panose="020B0604030504040204" pitchFamily="34" charset="0"/>
              <a:cs typeface="Tahoma" panose="020B0604030504040204" pitchFamily="34" charset="0"/>
            </a:endParaRPr>
          </a:p>
        </p:txBody>
      </p:sp>
      <p:pic>
        <p:nvPicPr>
          <p:cNvPr id="21" name="Graphic 20">
            <a:extLst>
              <a:ext uri="{FF2B5EF4-FFF2-40B4-BE49-F238E27FC236}">
                <a16:creationId xmlns:a16="http://schemas.microsoft.com/office/drawing/2014/main" id="{8B908F73-5BD1-0487-5A08-7B610C39088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92330" y="611896"/>
            <a:ext cx="462341" cy="392452"/>
          </a:xfrm>
          <a:prstGeom prst="rect">
            <a:avLst/>
          </a:prstGeom>
        </p:spPr>
      </p:pic>
      <p:sp>
        <p:nvSpPr>
          <p:cNvPr id="24" name="Oval 23">
            <a:extLst>
              <a:ext uri="{FF2B5EF4-FFF2-40B4-BE49-F238E27FC236}">
                <a16:creationId xmlns:a16="http://schemas.microsoft.com/office/drawing/2014/main" id="{220C938D-9977-0EE7-BF1D-5F6CB80EF510}"/>
              </a:ext>
            </a:extLst>
          </p:cNvPr>
          <p:cNvSpPr/>
          <p:nvPr/>
        </p:nvSpPr>
        <p:spPr>
          <a:xfrm>
            <a:off x="5643719" y="409359"/>
            <a:ext cx="512063" cy="512063"/>
          </a:xfrm>
          <a:prstGeom prst="ellipse">
            <a:avLst/>
          </a:prstGeom>
          <a:solidFill>
            <a:schemeClr val="accent6">
              <a:lumMod val="20000"/>
              <a:lumOff val="8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Tahoma" panose="020B0604030504040204" pitchFamily="34" charset="0"/>
              <a:ea typeface="Tahoma" panose="020B0604030504040204" pitchFamily="34" charset="0"/>
              <a:cs typeface="Tahoma" panose="020B0604030504040204" pitchFamily="34" charset="0"/>
            </a:endParaRPr>
          </a:p>
        </p:txBody>
      </p:sp>
      <p:sp>
        <p:nvSpPr>
          <p:cNvPr id="25" name="Oval 24">
            <a:extLst>
              <a:ext uri="{FF2B5EF4-FFF2-40B4-BE49-F238E27FC236}">
                <a16:creationId xmlns:a16="http://schemas.microsoft.com/office/drawing/2014/main" id="{7E591065-435A-2C74-2D91-522D423248A8}"/>
              </a:ext>
            </a:extLst>
          </p:cNvPr>
          <p:cNvSpPr/>
          <p:nvPr/>
        </p:nvSpPr>
        <p:spPr>
          <a:xfrm>
            <a:off x="6408114" y="867927"/>
            <a:ext cx="291136" cy="291136"/>
          </a:xfrm>
          <a:prstGeom prst="ellipse">
            <a:avLst/>
          </a:prstGeom>
          <a:solidFill>
            <a:schemeClr val="accent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Tahoma" panose="020B0604030504040204" pitchFamily="34" charset="0"/>
              <a:ea typeface="Tahoma" panose="020B0604030504040204" pitchFamily="34" charset="0"/>
              <a:cs typeface="Tahoma" panose="020B0604030504040204" pitchFamily="34" charset="0"/>
            </a:endParaRPr>
          </a:p>
        </p:txBody>
      </p:sp>
      <p:sp>
        <p:nvSpPr>
          <p:cNvPr id="26" name="Oval 25">
            <a:extLst>
              <a:ext uri="{FF2B5EF4-FFF2-40B4-BE49-F238E27FC236}">
                <a16:creationId xmlns:a16="http://schemas.microsoft.com/office/drawing/2014/main" id="{E07492FE-1A44-AD54-47DA-67DF89645534}"/>
              </a:ext>
            </a:extLst>
          </p:cNvPr>
          <p:cNvSpPr/>
          <p:nvPr/>
        </p:nvSpPr>
        <p:spPr>
          <a:xfrm>
            <a:off x="6988950" y="508717"/>
            <a:ext cx="192958" cy="192958"/>
          </a:xfrm>
          <a:prstGeom prst="ellipse">
            <a:avLst/>
          </a:prstGeom>
          <a:solidFill>
            <a:schemeClr val="accent6">
              <a:lumMod val="40000"/>
              <a:lumOff val="6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Tahoma" panose="020B0604030504040204" pitchFamily="34" charset="0"/>
              <a:ea typeface="Tahoma" panose="020B0604030504040204" pitchFamily="34" charset="0"/>
              <a:cs typeface="Tahoma" panose="020B0604030504040204" pitchFamily="34" charset="0"/>
            </a:endParaRPr>
          </a:p>
        </p:txBody>
      </p:sp>
      <p:pic>
        <p:nvPicPr>
          <p:cNvPr id="27" name="Graphic 26">
            <a:extLst>
              <a:ext uri="{FF2B5EF4-FFF2-40B4-BE49-F238E27FC236}">
                <a16:creationId xmlns:a16="http://schemas.microsoft.com/office/drawing/2014/main" id="{21E4333B-EF0B-3CBC-09B9-CC116895537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070850" y="10575632"/>
            <a:ext cx="682048" cy="733718"/>
          </a:xfrm>
          <a:prstGeom prst="rect">
            <a:avLst/>
          </a:prstGeom>
        </p:spPr>
      </p:pic>
      <p:grpSp>
        <p:nvGrpSpPr>
          <p:cNvPr id="3" name="Group 2">
            <a:extLst>
              <a:ext uri="{FF2B5EF4-FFF2-40B4-BE49-F238E27FC236}">
                <a16:creationId xmlns:a16="http://schemas.microsoft.com/office/drawing/2014/main" id="{E81AA57A-9D79-A7F1-C726-4340A40D5EFD}"/>
              </a:ext>
            </a:extLst>
          </p:cNvPr>
          <p:cNvGrpSpPr/>
          <p:nvPr/>
        </p:nvGrpSpPr>
        <p:grpSpPr>
          <a:xfrm>
            <a:off x="10436639" y="10581943"/>
            <a:ext cx="7478027" cy="292370"/>
            <a:chOff x="9124361" y="8620132"/>
            <a:chExt cx="7478027" cy="292370"/>
          </a:xfrm>
        </p:grpSpPr>
        <p:sp>
          <p:nvSpPr>
            <p:cNvPr id="4" name="object 32">
              <a:extLst>
                <a:ext uri="{FF2B5EF4-FFF2-40B4-BE49-F238E27FC236}">
                  <a16:creationId xmlns:a16="http://schemas.microsoft.com/office/drawing/2014/main" id="{A55AB8B4-D63C-B783-1268-DB4B90BCF69A}"/>
                </a:ext>
              </a:extLst>
            </p:cNvPr>
            <p:cNvSpPr txBox="1"/>
            <p:nvPr/>
          </p:nvSpPr>
          <p:spPr>
            <a:xfrm>
              <a:off x="9124361" y="8722065"/>
              <a:ext cx="7438390" cy="190437"/>
            </a:xfrm>
            <a:prstGeom prst="rect">
              <a:avLst/>
            </a:prstGeom>
          </p:spPr>
          <p:txBody>
            <a:bodyPr vert="horz" wrap="square" lIns="0" tIns="13335" rIns="0" bIns="0" rtlCol="0">
              <a:spAutoFit/>
            </a:bodyPr>
            <a:lstStyle/>
            <a:p>
              <a:pPr marL="12700">
                <a:lnSpc>
                  <a:spcPct val="100000"/>
                </a:lnSpc>
                <a:spcBef>
                  <a:spcPts val="105"/>
                </a:spcBef>
              </a:pPr>
              <a:r>
                <a:rPr lang="en-US" sz="1150" i="1" spc="-85">
                  <a:solidFill>
                    <a:srgbClr val="666666"/>
                  </a:solidFill>
                  <a:latin typeface="Lucida Sans"/>
                  <a:cs typeface="Lucida Sans"/>
                </a:rPr>
                <a:t>2) Policies are detailed in the “References” section at the end of this document</a:t>
              </a:r>
              <a:endParaRPr sz="1150">
                <a:latin typeface="Lucida Sans"/>
                <a:cs typeface="Lucida Sans"/>
              </a:endParaRPr>
            </a:p>
          </p:txBody>
        </p:sp>
        <p:sp>
          <p:nvSpPr>
            <p:cNvPr id="5" name="object 35">
              <a:extLst>
                <a:ext uri="{FF2B5EF4-FFF2-40B4-BE49-F238E27FC236}">
                  <a16:creationId xmlns:a16="http://schemas.microsoft.com/office/drawing/2014/main" id="{CF26BE84-D759-28D9-7B7F-9DE1EC553A60}"/>
                </a:ext>
              </a:extLst>
            </p:cNvPr>
            <p:cNvSpPr/>
            <p:nvPr/>
          </p:nvSpPr>
          <p:spPr>
            <a:xfrm>
              <a:off x="9167808" y="8620132"/>
              <a:ext cx="7434580" cy="0"/>
            </a:xfrm>
            <a:custGeom>
              <a:avLst/>
              <a:gdLst/>
              <a:ahLst/>
              <a:cxnLst/>
              <a:rect l="l" t="t" r="r" b="b"/>
              <a:pathLst>
                <a:path w="7434580">
                  <a:moveTo>
                    <a:pt x="0" y="0"/>
                  </a:moveTo>
                  <a:lnTo>
                    <a:pt x="7434328" y="0"/>
                  </a:lnTo>
                </a:path>
              </a:pathLst>
            </a:custGeom>
            <a:ln w="5235">
              <a:solidFill>
                <a:srgbClr val="666666"/>
              </a:solidFill>
            </a:ln>
          </p:spPr>
          <p:txBody>
            <a:bodyPr wrap="square" lIns="0" tIns="0" rIns="0" bIns="0" rtlCol="0"/>
            <a:lstStyle/>
            <a:p>
              <a:pPr algn="l" rtl="0"/>
              <a:endParaRPr/>
            </a:p>
          </p:txBody>
        </p:sp>
      </p:grpSp>
    </p:spTree>
    <p:extLst>
      <p:ext uri="{BB962C8B-B14F-4D97-AF65-F5344CB8AC3E}">
        <p14:creationId xmlns:p14="http://schemas.microsoft.com/office/powerpoint/2010/main" val="2527033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3662DC6D-8449-E4E5-B848-64A1C103A655}"/>
              </a:ext>
            </a:extLst>
          </p:cNvPr>
          <p:cNvSpPr txBox="1">
            <a:spLocks/>
          </p:cNvSpPr>
          <p:nvPr/>
        </p:nvSpPr>
        <p:spPr>
          <a:xfrm>
            <a:off x="679450" y="681026"/>
            <a:ext cx="12801600" cy="512063"/>
          </a:xfrm>
          <a:prstGeom prst="rect">
            <a:avLst/>
          </a:prstGeom>
        </p:spPr>
        <p:txBody>
          <a:bodyPr vert="horz" wrap="square" lIns="0" tIns="1333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spcBef>
                <a:spcPts val="114"/>
              </a:spcBef>
            </a:pPr>
            <a:r>
              <a:rPr lang="en-US" sz="3600" b="1">
                <a:solidFill>
                  <a:schemeClr val="accent3"/>
                </a:solidFill>
                <a:latin typeface="Tahoma"/>
                <a:cs typeface="Tahoma"/>
              </a:rPr>
              <a:t>PROVISIONS</a:t>
            </a:r>
          </a:p>
        </p:txBody>
      </p:sp>
      <p:sp>
        <p:nvSpPr>
          <p:cNvPr id="15" name="object 22">
            <a:extLst>
              <a:ext uri="{FF2B5EF4-FFF2-40B4-BE49-F238E27FC236}">
                <a16:creationId xmlns:a16="http://schemas.microsoft.com/office/drawing/2014/main" id="{CE9A82B8-C3CD-B539-FA34-8A812D02C80A}"/>
              </a:ext>
            </a:extLst>
          </p:cNvPr>
          <p:cNvSpPr txBox="1"/>
          <p:nvPr/>
        </p:nvSpPr>
        <p:spPr>
          <a:xfrm>
            <a:off x="679450" y="1573388"/>
            <a:ext cx="18973800" cy="9687836"/>
          </a:xfrm>
          <a:prstGeom prst="rect">
            <a:avLst/>
          </a:prstGeom>
          <a:noFill/>
        </p:spPr>
        <p:txBody>
          <a:bodyPr vert="horz" wrap="none" lIns="0" tIns="12065" rIns="0" bIns="0" numCol="2" spcCol="360000" rtlCol="0" anchor="t">
            <a:noAutofit/>
          </a:bodyPr>
          <a:lstStyle/>
          <a:p>
            <a:pPr marL="12700">
              <a:spcBef>
                <a:spcPts val="500"/>
              </a:spcBef>
              <a:tabLst>
                <a:tab pos="370205" algn="l"/>
              </a:tabLst>
            </a:pPr>
            <a:r>
              <a:rPr lang="en-US" sz="2000" b="1">
                <a:solidFill>
                  <a:srgbClr val="666666"/>
                </a:solidFill>
                <a:latin typeface="Tahoma"/>
                <a:cs typeface="Tahoma"/>
              </a:rPr>
              <a:t>2.	Reporting concerns of student maltreatment at educational institutions:</a:t>
            </a:r>
          </a:p>
          <a:p>
            <a:pPr marL="370205" marR="5080">
              <a:spcBef>
                <a:spcPts val="500"/>
              </a:spcBef>
            </a:pPr>
            <a:r>
              <a:rPr lang="en-US" sz="2000">
                <a:solidFill>
                  <a:srgbClr val="666666"/>
                </a:solidFill>
              </a:rPr>
              <a:t>Staff in educational institutions, including any person who, in the performance of their duties, has regular or temporary contact with students and who provides services to students or to the institution, are mandated by Federal Law No. 3 of 2016 on Children’s Rights to report all concerns without delays that may cause setbacks of alleged and/or suspected maltreatment (caused by any alleged/suspected perpetrator inside or outside of the educational institution) directly to the department-appointed Child Protection Specialist (CPS) and/or Child Protection Unit (CPU). It is recommended to report concerns within 24 hours of having a suspicion. Staff should follow the procedures outlined in Figure 1. Safety concern referrals in Abu Dhabi educational institutions and the guide to deal  with concerns that threaten the child and/or his physical, psychological, moral or mental safety, including student maltreatment within educational institutions.</a:t>
            </a:r>
          </a:p>
          <a:p>
            <a:pPr marL="370205" marR="5080">
              <a:spcBef>
                <a:spcPts val="500"/>
              </a:spcBef>
            </a:pPr>
            <a:r>
              <a:rPr lang="en-US" sz="2000">
                <a:solidFill>
                  <a:srgbClr val="666666"/>
                </a:solidFill>
              </a:rPr>
              <a:t>All concerns of student maltreatment or any concerns regarding a child's physical, psychological, moral, or mental safety detected in educational institutions, whether the maltreatment took place inside or outside of the institution, should be notified to the relevant CPU. </a:t>
            </a:r>
          </a:p>
          <a:p>
            <a:pPr marL="370205" marR="5080">
              <a:spcBef>
                <a:spcPts val="500"/>
              </a:spcBef>
            </a:pPr>
            <a:r>
              <a:rPr lang="en-US" sz="2000">
                <a:solidFill>
                  <a:srgbClr val="666666"/>
                </a:solidFill>
                <a:latin typeface="Arial Unicode MS"/>
                <a:cs typeface="Arial Unicode MS"/>
              </a:rPr>
              <a:t>The </a:t>
            </a:r>
            <a:r>
              <a:rPr lang="en-US" sz="2000" err="1">
                <a:solidFill>
                  <a:srgbClr val="666666"/>
                </a:solidFill>
                <a:latin typeface="Arial Unicode MS"/>
                <a:cs typeface="Arial Unicode MS"/>
              </a:rPr>
              <a:t>MoE</a:t>
            </a:r>
            <a:r>
              <a:rPr lang="en-US" sz="2000">
                <a:solidFill>
                  <a:srgbClr val="666666"/>
                </a:solidFill>
                <a:latin typeface="Arial Unicode MS"/>
                <a:cs typeface="Arial Unicode MS"/>
              </a:rPr>
              <a:t> has put in place the National Policy for the Prevention of Bullying in educational institutions for handling bullying cases. Therefore, all cases of bullying should be handled in accordance with the procedures defined in that framework. Exceptions to bullying cases include severe bullying (cases of bullying that have or risk having a significant physical and emotional impact on the student, would be considered </a:t>
            </a:r>
            <a:r>
              <a:rPr lang="en-US" sz="2000">
                <a:solidFill>
                  <a:srgbClr val="666666"/>
                </a:solidFill>
              </a:rPr>
              <a:t>as form of maltreatment), which should be handled according to the procedures defined in this policy.</a:t>
            </a:r>
          </a:p>
          <a:p>
            <a:pPr marL="370205" marR="71120">
              <a:spcBef>
                <a:spcPts val="500"/>
              </a:spcBef>
            </a:pPr>
            <a:r>
              <a:rPr lang="en-US" sz="2000">
                <a:solidFill>
                  <a:srgbClr val="666666"/>
                </a:solidFill>
              </a:rPr>
              <a:t>This document is also in line with the Child Protection in Educational Institutions Policy published by </a:t>
            </a:r>
            <a:r>
              <a:rPr lang="en-US" sz="2000" err="1">
                <a:solidFill>
                  <a:srgbClr val="666666"/>
                </a:solidFill>
              </a:rPr>
              <a:t>MoE</a:t>
            </a:r>
            <a:r>
              <a:rPr lang="en-US" sz="2000">
                <a:solidFill>
                  <a:srgbClr val="666666"/>
                </a:solidFill>
              </a:rPr>
              <a:t>. This document will replace the ADEK Child Protection Policy (2016) and the Private Schools Policy Manual developed by ADEK.</a:t>
            </a:r>
            <a:r>
              <a:rPr lang="en-US" sz="2000" baseline="30000">
                <a:solidFill>
                  <a:srgbClr val="666666"/>
                </a:solidFill>
                <a:latin typeface="Arial Unicode MS"/>
                <a:cs typeface="Arial Unicode MS"/>
              </a:rPr>
              <a:t>2</a:t>
            </a:r>
          </a:p>
          <a:p>
            <a:pPr marL="370205" marR="71120">
              <a:spcBef>
                <a:spcPts val="500"/>
              </a:spcBef>
            </a:pPr>
            <a:endParaRPr lang="en-US" sz="2000" baseline="30000">
              <a:solidFill>
                <a:srgbClr val="666666"/>
              </a:solidFill>
              <a:latin typeface="Arial Unicode MS"/>
              <a:cs typeface="Arial Unicode MS"/>
            </a:endParaRPr>
          </a:p>
          <a:p>
            <a:pPr marL="370205" marR="71120">
              <a:spcBef>
                <a:spcPts val="500"/>
              </a:spcBef>
            </a:pPr>
            <a:endParaRPr lang="en-US" sz="2000">
              <a:solidFill>
                <a:srgbClr val="666666"/>
              </a:solidFill>
              <a:latin typeface="Arial Unicode MS"/>
              <a:cs typeface="Arial Unicode MS"/>
            </a:endParaRPr>
          </a:p>
          <a:p>
            <a:pPr marL="370205" marR="71120">
              <a:spcBef>
                <a:spcPts val="500"/>
              </a:spcBef>
            </a:pPr>
            <a:endParaRPr lang="en-US" sz="2000">
              <a:solidFill>
                <a:srgbClr val="666666"/>
              </a:solidFill>
              <a:latin typeface="Arial Unicode MS"/>
              <a:cs typeface="Arial Unicode MS"/>
            </a:endParaRPr>
          </a:p>
          <a:p>
            <a:pPr marL="370205" marR="71120">
              <a:spcBef>
                <a:spcPts val="500"/>
              </a:spcBef>
            </a:pPr>
            <a:endParaRPr lang="en-US" sz="2000">
              <a:solidFill>
                <a:srgbClr val="666666"/>
              </a:solidFill>
              <a:latin typeface="Arial Unicode MS"/>
              <a:cs typeface="Arial Unicode MS"/>
            </a:endParaRPr>
          </a:p>
          <a:p>
            <a:pPr marL="370205" marR="71120">
              <a:spcBef>
                <a:spcPts val="500"/>
              </a:spcBef>
            </a:pPr>
            <a:r>
              <a:rPr lang="en-US" sz="2000">
                <a:solidFill>
                  <a:srgbClr val="666666"/>
                </a:solidFill>
              </a:rPr>
              <a:t>All educational institutions shall appoint a Child Protection Coordinator (CPC) and a Child Protection Team (CPT). The team would typically include 3-5 members consisting of the counselor and/or social worker as well as relevant members of the senior leadership team, any of whom may or may not take on the role of the CPC. In educational institutions where such a team cannot be formed, the CPC would be responsible for case management within the educational institution, and a representative should be appointed in case the CPC is unavailable/unable to perform their duties. </a:t>
            </a:r>
          </a:p>
          <a:p>
            <a:pPr marL="370205" marR="71120">
              <a:spcBef>
                <a:spcPts val="500"/>
              </a:spcBef>
            </a:pPr>
            <a:r>
              <a:rPr lang="en-US" sz="2000">
                <a:solidFill>
                  <a:srgbClr val="666666"/>
                </a:solidFill>
              </a:rPr>
              <a:t>If any staff of the educational institution, including volunteers, receives an allegation or has a concern about the possibility of maltreatment or threaten the student and/ or his/her physical, psychological, moral or mental safety, including student maltreatment or is subjected to maltreatment, or is at risk of maltreatment as defined in the types of maltreatment section, they shall report the matter to the CPC or any other person representing him/her immediately. This includes concerns of maltreatment of students taking place inside or outside the boundaries of the educational institution.</a:t>
            </a:r>
          </a:p>
          <a:p>
            <a:pPr marL="370205" marR="71120">
              <a:spcBef>
                <a:spcPts val="500"/>
              </a:spcBef>
            </a:pPr>
            <a:r>
              <a:rPr lang="en-US" sz="2000">
                <a:solidFill>
                  <a:srgbClr val="666666"/>
                </a:solidFill>
              </a:rPr>
              <a:t>In case the reporter is unable to reach the CPC, or any other person representing him/her in the school, or that it is not in the best interest of the student, then the reporter could inform the relevant CPUs at the relevant educational institutions in the Emirate of Abu Dhabi and/or FCA immediately through filling the Safety Concern Form online in the digital safety concern portal.</a:t>
            </a:r>
          </a:p>
          <a:p>
            <a:pPr marL="370205" marR="71120">
              <a:spcBef>
                <a:spcPts val="500"/>
              </a:spcBef>
            </a:pPr>
            <a:r>
              <a:rPr lang="en-US" sz="2000">
                <a:solidFill>
                  <a:srgbClr val="666666"/>
                </a:solidFill>
              </a:rPr>
              <a:t>The CPC should, in emergency cases where a student is in imminent danger, immediately report to the Police (999) and school Principal, then fill the Safety Concern Form online on the digital safety concern portal. </a:t>
            </a:r>
          </a:p>
          <a:p>
            <a:pPr marL="370205" marR="71120">
              <a:spcBef>
                <a:spcPts val="500"/>
              </a:spcBef>
            </a:pPr>
            <a:r>
              <a:rPr lang="en-US" sz="2000">
                <a:solidFill>
                  <a:srgbClr val="666666"/>
                </a:solidFill>
                <a:latin typeface="Arial Unicode MS"/>
                <a:cs typeface="Arial Unicode MS"/>
              </a:rPr>
              <a:t>Emergency cases are detailed in the Handling Student Maltreatment Concerns within Educational Institutions guide.</a:t>
            </a:r>
          </a:p>
          <a:p>
            <a:pPr marL="370205" marR="71120">
              <a:spcBef>
                <a:spcPts val="500"/>
              </a:spcBef>
            </a:pPr>
            <a:endParaRPr lang="en-US" sz="2000">
              <a:solidFill>
                <a:srgbClr val="666666"/>
              </a:solidFill>
              <a:latin typeface="Arial Unicode MS"/>
              <a:cs typeface="Arial Unicode MS"/>
            </a:endParaRPr>
          </a:p>
          <a:p>
            <a:pPr marL="298450" indent="-285750">
              <a:spcBef>
                <a:spcPts val="500"/>
              </a:spcBef>
              <a:buFont typeface="Arial" panose="020B0604020202020204" pitchFamily="34" charset="0"/>
              <a:buChar char="•"/>
              <a:tabLst>
                <a:tab pos="370205" algn="l"/>
              </a:tabLst>
            </a:pPr>
            <a:endParaRPr lang="en-US" sz="2000">
              <a:solidFill>
                <a:srgbClr val="666666"/>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495300" marR="45720" indent="-285750">
              <a:spcBef>
                <a:spcPts val="500"/>
              </a:spcBef>
              <a:buFont typeface="Arial" panose="020B0604020202020204" pitchFamily="34" charset="0"/>
              <a:buChar char="•"/>
              <a:tabLst>
                <a:tab pos="369888" algn="l"/>
                <a:tab pos="566738" algn="l"/>
              </a:tabLst>
            </a:pPr>
            <a:endParaRPr lang="en-US" sz="2000">
              <a:solidFill>
                <a:srgbClr val="666666"/>
              </a:solidFill>
              <a:latin typeface="Arial Unicode MS"/>
              <a:cs typeface="Arial Unicode MS"/>
            </a:endParaRPr>
          </a:p>
        </p:txBody>
      </p:sp>
      <p:grpSp>
        <p:nvGrpSpPr>
          <p:cNvPr id="12" name="Group 11">
            <a:extLst>
              <a:ext uri="{FF2B5EF4-FFF2-40B4-BE49-F238E27FC236}">
                <a16:creationId xmlns:a16="http://schemas.microsoft.com/office/drawing/2014/main" id="{CA3E3B7D-0423-1318-5CBB-33A79EE76B0C}"/>
              </a:ext>
            </a:extLst>
          </p:cNvPr>
          <p:cNvGrpSpPr/>
          <p:nvPr/>
        </p:nvGrpSpPr>
        <p:grpSpPr>
          <a:xfrm>
            <a:off x="10436639" y="10581943"/>
            <a:ext cx="7478027" cy="292370"/>
            <a:chOff x="9124361" y="8620132"/>
            <a:chExt cx="7478027" cy="292370"/>
          </a:xfrm>
        </p:grpSpPr>
        <p:sp>
          <p:nvSpPr>
            <p:cNvPr id="13" name="object 32">
              <a:extLst>
                <a:ext uri="{FF2B5EF4-FFF2-40B4-BE49-F238E27FC236}">
                  <a16:creationId xmlns:a16="http://schemas.microsoft.com/office/drawing/2014/main" id="{DD3E8B7F-B283-2A4A-0C79-2E6D03EB3CCB}"/>
                </a:ext>
              </a:extLst>
            </p:cNvPr>
            <p:cNvSpPr txBox="1"/>
            <p:nvPr/>
          </p:nvSpPr>
          <p:spPr>
            <a:xfrm>
              <a:off x="9124361" y="8722065"/>
              <a:ext cx="7438390" cy="190437"/>
            </a:xfrm>
            <a:prstGeom prst="rect">
              <a:avLst/>
            </a:prstGeom>
          </p:spPr>
          <p:txBody>
            <a:bodyPr vert="horz" wrap="square" lIns="0" tIns="13335" rIns="0" bIns="0" rtlCol="0">
              <a:spAutoFit/>
            </a:bodyPr>
            <a:lstStyle/>
            <a:p>
              <a:pPr marL="12700">
                <a:lnSpc>
                  <a:spcPct val="100000"/>
                </a:lnSpc>
                <a:spcBef>
                  <a:spcPts val="105"/>
                </a:spcBef>
              </a:pPr>
              <a:r>
                <a:rPr lang="en-US" sz="1150" i="1" spc="-85">
                  <a:solidFill>
                    <a:srgbClr val="666666"/>
                  </a:solidFill>
                  <a:latin typeface="Lucida Sans"/>
                  <a:cs typeface="Lucida Sans"/>
                </a:rPr>
                <a:t>2) Policies are detailed in the “References” section at the end of this document</a:t>
              </a:r>
              <a:endParaRPr sz="1150">
                <a:latin typeface="Lucida Sans"/>
                <a:cs typeface="Lucida Sans"/>
              </a:endParaRPr>
            </a:p>
          </p:txBody>
        </p:sp>
        <p:sp>
          <p:nvSpPr>
            <p:cNvPr id="14" name="object 35">
              <a:extLst>
                <a:ext uri="{FF2B5EF4-FFF2-40B4-BE49-F238E27FC236}">
                  <a16:creationId xmlns:a16="http://schemas.microsoft.com/office/drawing/2014/main" id="{DA1465CB-E2E7-1B51-06A9-68B16D006FB3}"/>
                </a:ext>
              </a:extLst>
            </p:cNvPr>
            <p:cNvSpPr/>
            <p:nvPr/>
          </p:nvSpPr>
          <p:spPr>
            <a:xfrm>
              <a:off x="9167808" y="8620132"/>
              <a:ext cx="7434580" cy="0"/>
            </a:xfrm>
            <a:custGeom>
              <a:avLst/>
              <a:gdLst/>
              <a:ahLst/>
              <a:cxnLst/>
              <a:rect l="l" t="t" r="r" b="b"/>
              <a:pathLst>
                <a:path w="7434580">
                  <a:moveTo>
                    <a:pt x="0" y="0"/>
                  </a:moveTo>
                  <a:lnTo>
                    <a:pt x="7434328" y="0"/>
                  </a:lnTo>
                </a:path>
              </a:pathLst>
            </a:custGeom>
            <a:ln w="5235">
              <a:solidFill>
                <a:srgbClr val="666666"/>
              </a:solidFill>
            </a:ln>
          </p:spPr>
          <p:txBody>
            <a:bodyPr wrap="square" lIns="0" tIns="0" rIns="0" bIns="0" rtlCol="0"/>
            <a:lstStyle/>
            <a:p>
              <a:pPr algn="l" rtl="0"/>
              <a:endParaRPr/>
            </a:p>
          </p:txBody>
        </p:sp>
      </p:grpSp>
      <p:pic>
        <p:nvPicPr>
          <p:cNvPr id="16" name="Graphic 15">
            <a:extLst>
              <a:ext uri="{FF2B5EF4-FFF2-40B4-BE49-F238E27FC236}">
                <a16:creationId xmlns:a16="http://schemas.microsoft.com/office/drawing/2014/main" id="{00B7296C-1487-635D-62F8-4BF22C3991C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659769" y="489030"/>
            <a:ext cx="896052" cy="896052"/>
          </a:xfrm>
          <a:prstGeom prst="rect">
            <a:avLst/>
          </a:prstGeom>
        </p:spPr>
      </p:pic>
      <p:pic>
        <p:nvPicPr>
          <p:cNvPr id="18" name="Graphic 17">
            <a:extLst>
              <a:ext uri="{FF2B5EF4-FFF2-40B4-BE49-F238E27FC236}">
                <a16:creationId xmlns:a16="http://schemas.microsoft.com/office/drawing/2014/main" id="{0056F2E2-E85A-40C8-0B11-9CDEAFACC5E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4311" y="8578213"/>
            <a:ext cx="485139" cy="485139"/>
          </a:xfrm>
          <a:prstGeom prst="rect">
            <a:avLst/>
          </a:prstGeom>
        </p:spPr>
      </p:pic>
      <p:pic>
        <p:nvPicPr>
          <p:cNvPr id="19" name="Graphic 18">
            <a:extLst>
              <a:ext uri="{FF2B5EF4-FFF2-40B4-BE49-F238E27FC236}">
                <a16:creationId xmlns:a16="http://schemas.microsoft.com/office/drawing/2014/main" id="{B900791D-FCB8-3908-5BD4-EDF81A89BE5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40335" y="5081978"/>
            <a:ext cx="344097" cy="344097"/>
          </a:xfrm>
          <a:prstGeom prst="rect">
            <a:avLst/>
          </a:prstGeom>
        </p:spPr>
      </p:pic>
      <p:pic>
        <p:nvPicPr>
          <p:cNvPr id="20" name="Graphic 19">
            <a:extLst>
              <a:ext uri="{FF2B5EF4-FFF2-40B4-BE49-F238E27FC236}">
                <a16:creationId xmlns:a16="http://schemas.microsoft.com/office/drawing/2014/main" id="{2F9C2E17-D12E-EF1E-2F22-82CC0A799D9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99250" y="-619087"/>
            <a:ext cx="1238174" cy="1238174"/>
          </a:xfrm>
          <a:prstGeom prst="rect">
            <a:avLst/>
          </a:prstGeom>
        </p:spPr>
      </p:pic>
    </p:spTree>
    <p:extLst>
      <p:ext uri="{BB962C8B-B14F-4D97-AF65-F5344CB8AC3E}">
        <p14:creationId xmlns:p14="http://schemas.microsoft.com/office/powerpoint/2010/main" val="10617845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3">
            <a:lumMod val="40000"/>
            <a:lumOff val="60000"/>
          </a:schemeClr>
        </a:solidFill>
        <a:effectLst/>
      </p:bgPr>
    </p:bg>
    <p:spTree>
      <p:nvGrpSpPr>
        <p:cNvPr id="1" name=""/>
        <p:cNvGrpSpPr/>
        <p:nvPr/>
      </p:nvGrpSpPr>
      <p:grpSpPr>
        <a:xfrm>
          <a:off x="0" y="0"/>
          <a:ext cx="0" cy="0"/>
          <a:chOff x="0" y="0"/>
          <a:chExt cx="0" cy="0"/>
        </a:xfrm>
      </p:grpSpPr>
      <p:sp>
        <p:nvSpPr>
          <p:cNvPr id="2" name="object 32">
            <a:extLst>
              <a:ext uri="{FF2B5EF4-FFF2-40B4-BE49-F238E27FC236}">
                <a16:creationId xmlns:a16="http://schemas.microsoft.com/office/drawing/2014/main" id="{9F172C64-6441-A31B-C74A-95100ADA5463}"/>
              </a:ext>
            </a:extLst>
          </p:cNvPr>
          <p:cNvSpPr txBox="1"/>
          <p:nvPr/>
        </p:nvSpPr>
        <p:spPr>
          <a:xfrm>
            <a:off x="674370" y="1682715"/>
            <a:ext cx="18216879" cy="1489510"/>
          </a:xfrm>
          <a:prstGeom prst="rect">
            <a:avLst/>
          </a:prstGeom>
        </p:spPr>
        <p:txBody>
          <a:bodyPr vert="horz" wrap="square" lIns="0" tIns="12065" rIns="0" bIns="0" rtlCol="0">
            <a:spAutoFit/>
          </a:bodyPr>
          <a:lstStyle/>
          <a:p>
            <a:pPr marL="12700" marR="50165">
              <a:spcBef>
                <a:spcPts val="95"/>
              </a:spcBef>
            </a:pPr>
            <a:r>
              <a:rPr lang="en-US" sz="3200" b="1">
                <a:solidFill>
                  <a:schemeClr val="accent5"/>
                </a:solidFill>
                <a:latin typeface="Tahoma" panose="020B0604030504040204" pitchFamily="34" charset="0"/>
                <a:ea typeface="Tahoma" panose="020B0604030504040204" pitchFamily="34" charset="0"/>
                <a:cs typeface="Tahoma" panose="020B0604030504040204" pitchFamily="34" charset="0"/>
              </a:rPr>
              <a:t>How do concerns of maltreatment that threaten the child or his/her physical, psychological, moral or mental wellbeing identified in or disclosed at the educational institutions be handled?</a:t>
            </a:r>
          </a:p>
        </p:txBody>
      </p:sp>
      <p:sp>
        <p:nvSpPr>
          <p:cNvPr id="3" name="object 33">
            <a:extLst>
              <a:ext uri="{FF2B5EF4-FFF2-40B4-BE49-F238E27FC236}">
                <a16:creationId xmlns:a16="http://schemas.microsoft.com/office/drawing/2014/main" id="{327B7665-FB9E-64E6-7D64-EC281A4A7DF0}"/>
              </a:ext>
            </a:extLst>
          </p:cNvPr>
          <p:cNvSpPr txBox="1"/>
          <p:nvPr/>
        </p:nvSpPr>
        <p:spPr>
          <a:xfrm>
            <a:off x="674370" y="3252501"/>
            <a:ext cx="8991601" cy="6876241"/>
          </a:xfrm>
          <a:prstGeom prst="rect">
            <a:avLst/>
          </a:prstGeom>
        </p:spPr>
        <p:txBody>
          <a:bodyPr vert="horz" wrap="square" lIns="0" tIns="12700" rIns="0" bIns="0" numCol="1" spcCol="360000" rtlCol="0" anchor="t">
            <a:spAutoFit/>
          </a:bodyPr>
          <a:lstStyle/>
          <a:p>
            <a:pPr marL="12700" marR="17780">
              <a:spcBef>
                <a:spcPts val="100"/>
              </a:spcBef>
            </a:pPr>
            <a:r>
              <a:rPr lang="en-US">
                <a:solidFill>
                  <a:schemeClr val="tx1">
                    <a:lumMod val="65000"/>
                    <a:lumOff val="35000"/>
                  </a:schemeClr>
                </a:solidFill>
              </a:rPr>
              <a:t>Once a concern of maltreatment or threat to the child’s physical, psychological, moral or mental safety, as well as student maltreatment (incl. </a:t>
            </a:r>
            <a:r>
              <a:rPr lang="en-US">
                <a:solidFill>
                  <a:schemeClr val="tx1">
                    <a:lumMod val="65000"/>
                    <a:lumOff val="35000"/>
                  </a:schemeClr>
                </a:solidFill>
                <a:latin typeface="Arial Unicode MS"/>
                <a:cs typeface="Arial Unicode MS"/>
              </a:rPr>
              <a:t>severe bullying) to a student has been</a:t>
            </a:r>
            <a:r>
              <a:rPr>
                <a:solidFill>
                  <a:schemeClr val="tx1">
                    <a:lumMod val="65000"/>
                    <a:lumOff val="35000"/>
                  </a:schemeClr>
                </a:solidFill>
                <a:latin typeface="Arial Unicode MS"/>
                <a:cs typeface="Arial Unicode MS"/>
              </a:rPr>
              <a:t> raised </a:t>
            </a:r>
            <a:r>
              <a:rPr lang="en-US">
                <a:solidFill>
                  <a:schemeClr val="tx1">
                    <a:lumMod val="65000"/>
                    <a:lumOff val="35000"/>
                  </a:schemeClr>
                </a:solidFill>
                <a:latin typeface="Arial Unicode MS"/>
                <a:cs typeface="Arial Unicode MS"/>
              </a:rPr>
              <a:t>at</a:t>
            </a:r>
            <a:r>
              <a:rPr>
                <a:solidFill>
                  <a:schemeClr val="tx1">
                    <a:lumMod val="65000"/>
                    <a:lumOff val="35000"/>
                  </a:schemeClr>
                </a:solidFill>
                <a:latin typeface="Arial Unicode MS"/>
                <a:cs typeface="Arial Unicode MS"/>
              </a:rPr>
              <a:t> </a:t>
            </a:r>
            <a:r>
              <a:rPr lang="en-US">
                <a:solidFill>
                  <a:schemeClr val="tx1">
                    <a:lumMod val="65000"/>
                    <a:lumOff val="35000"/>
                  </a:schemeClr>
                </a:solidFill>
                <a:latin typeface="Arial Unicode MS"/>
                <a:cs typeface="Arial Unicode MS"/>
              </a:rPr>
              <a:t>an educational institution</a:t>
            </a:r>
            <a:r>
              <a:rPr>
                <a:solidFill>
                  <a:schemeClr val="tx1">
                    <a:lumMod val="65000"/>
                    <a:lumOff val="35000"/>
                  </a:schemeClr>
                </a:solidFill>
                <a:latin typeface="Arial Unicode MS"/>
                <a:cs typeface="Arial Unicode MS"/>
              </a:rPr>
              <a:t>,</a:t>
            </a:r>
            <a:r>
              <a:rPr lang="en-US">
                <a:solidFill>
                  <a:schemeClr val="tx1">
                    <a:lumMod val="65000"/>
                    <a:lumOff val="35000"/>
                  </a:schemeClr>
                </a:solidFill>
                <a:latin typeface="Arial Unicode MS"/>
                <a:cs typeface="Arial Unicode MS"/>
              </a:rPr>
              <a:t> </a:t>
            </a:r>
            <a:r>
              <a:rPr>
                <a:solidFill>
                  <a:schemeClr val="tx1">
                    <a:lumMod val="65000"/>
                    <a:lumOff val="35000"/>
                  </a:schemeClr>
                </a:solidFill>
                <a:latin typeface="Arial Unicode MS"/>
                <a:cs typeface="Arial Unicode MS"/>
              </a:rPr>
              <a:t>this should be reported directly to the </a:t>
            </a:r>
            <a:r>
              <a:rPr lang="en-US">
                <a:solidFill>
                  <a:schemeClr val="tx1">
                    <a:lumMod val="65000"/>
                    <a:lumOff val="35000"/>
                  </a:schemeClr>
                </a:solidFill>
                <a:latin typeface="Arial Unicode MS"/>
                <a:cs typeface="Arial Unicode MS"/>
              </a:rPr>
              <a:t>CPC</a:t>
            </a:r>
            <a:r>
              <a:rPr>
                <a:solidFill>
                  <a:schemeClr val="tx1">
                    <a:lumMod val="65000"/>
                    <a:lumOff val="35000"/>
                  </a:schemeClr>
                </a:solidFill>
                <a:latin typeface="Arial Unicode MS"/>
                <a:cs typeface="Arial Unicode MS"/>
              </a:rPr>
              <a:t>, or </a:t>
            </a:r>
            <a:r>
              <a:rPr lang="en-US">
                <a:solidFill>
                  <a:schemeClr val="tx1">
                    <a:lumMod val="65000"/>
                    <a:lumOff val="35000"/>
                  </a:schemeClr>
                </a:solidFill>
                <a:latin typeface="Arial Unicode MS"/>
                <a:cs typeface="Arial Unicode MS"/>
              </a:rPr>
              <a:t>any other person representing him/her </a:t>
            </a:r>
            <a:r>
              <a:rPr>
                <a:solidFill>
                  <a:schemeClr val="tx1">
                    <a:lumMod val="65000"/>
                    <a:lumOff val="35000"/>
                  </a:schemeClr>
                </a:solidFill>
                <a:latin typeface="Arial Unicode MS"/>
                <a:cs typeface="Arial Unicode MS"/>
              </a:rPr>
              <a:t>in </a:t>
            </a:r>
            <a:r>
              <a:rPr lang="en-US">
                <a:solidFill>
                  <a:schemeClr val="tx1">
                    <a:lumMod val="65000"/>
                    <a:lumOff val="35000"/>
                  </a:schemeClr>
                </a:solidFill>
                <a:latin typeface="Arial Unicode MS"/>
                <a:cs typeface="Arial Unicode MS"/>
              </a:rPr>
              <a:t>the institution</a:t>
            </a:r>
            <a:r>
              <a:rPr>
                <a:solidFill>
                  <a:schemeClr val="tx1">
                    <a:lumMod val="65000"/>
                    <a:lumOff val="35000"/>
                  </a:schemeClr>
                </a:solidFill>
                <a:latin typeface="Arial Unicode MS"/>
                <a:cs typeface="Arial Unicode MS"/>
              </a:rPr>
              <a:t> (all staff in </a:t>
            </a:r>
            <a:r>
              <a:rPr lang="en-US">
                <a:solidFill>
                  <a:schemeClr val="tx1">
                    <a:lumMod val="65000"/>
                    <a:lumOff val="35000"/>
                  </a:schemeClr>
                </a:solidFill>
                <a:latin typeface="Arial Unicode MS"/>
                <a:cs typeface="Arial Unicode MS"/>
              </a:rPr>
              <a:t>the educational institution</a:t>
            </a:r>
            <a:r>
              <a:rPr>
                <a:solidFill>
                  <a:schemeClr val="tx1">
                    <a:lumMod val="65000"/>
                    <a:lumOff val="35000"/>
                  </a:schemeClr>
                </a:solidFill>
                <a:latin typeface="Arial Unicode MS"/>
                <a:cs typeface="Arial Unicode MS"/>
              </a:rPr>
              <a:t> should be trained on</a:t>
            </a:r>
            <a:r>
              <a:rPr lang="en-US">
                <a:solidFill>
                  <a:schemeClr val="tx1">
                    <a:lumMod val="65000"/>
                    <a:lumOff val="35000"/>
                  </a:schemeClr>
                </a:solidFill>
                <a:latin typeface="Arial Unicode MS"/>
                <a:cs typeface="Arial Unicode MS"/>
              </a:rPr>
              <a:t> </a:t>
            </a:r>
            <a:r>
              <a:rPr>
                <a:solidFill>
                  <a:schemeClr val="tx1">
                    <a:lumMod val="65000"/>
                    <a:lumOff val="35000"/>
                  </a:schemeClr>
                </a:solidFill>
                <a:latin typeface="Arial Unicode MS"/>
                <a:cs typeface="Arial Unicode MS"/>
              </a:rPr>
              <a:t>identifying </a:t>
            </a:r>
            <a:r>
              <a:rPr lang="en-US">
                <a:solidFill>
                  <a:schemeClr val="tx1">
                    <a:lumMod val="65000"/>
                    <a:lumOff val="35000"/>
                  </a:schemeClr>
                </a:solidFill>
                <a:latin typeface="Arial Unicode MS"/>
                <a:cs typeface="Arial Unicode MS"/>
              </a:rPr>
              <a:t>maltreatment of students, </a:t>
            </a:r>
            <a:r>
              <a:rPr>
                <a:solidFill>
                  <a:schemeClr val="tx1">
                    <a:lumMod val="65000"/>
                    <a:lumOff val="35000"/>
                  </a:schemeClr>
                </a:solidFill>
                <a:latin typeface="Arial Unicode MS"/>
                <a:cs typeface="Arial Unicode MS"/>
              </a:rPr>
              <a:t>in line with the operational definitions of the different</a:t>
            </a:r>
            <a:r>
              <a:rPr lang="en-US">
                <a:solidFill>
                  <a:schemeClr val="tx1">
                    <a:lumMod val="65000"/>
                    <a:lumOff val="35000"/>
                  </a:schemeClr>
                </a:solidFill>
                <a:latin typeface="Arial Unicode MS"/>
                <a:cs typeface="Arial Unicode MS"/>
              </a:rPr>
              <a:t> </a:t>
            </a:r>
            <a:r>
              <a:rPr>
                <a:solidFill>
                  <a:schemeClr val="tx1">
                    <a:lumMod val="65000"/>
                    <a:lumOff val="35000"/>
                  </a:schemeClr>
                </a:solidFill>
                <a:latin typeface="Arial Unicode MS"/>
                <a:cs typeface="Arial Unicode MS"/>
              </a:rPr>
              <a:t>types of </a:t>
            </a:r>
            <a:r>
              <a:rPr lang="en-US">
                <a:solidFill>
                  <a:schemeClr val="tx1">
                    <a:lumMod val="65000"/>
                    <a:lumOff val="35000"/>
                  </a:schemeClr>
                </a:solidFill>
                <a:latin typeface="Arial Unicode MS"/>
                <a:cs typeface="Arial Unicode MS"/>
              </a:rPr>
              <a:t>maltreatment</a:t>
            </a:r>
            <a:r>
              <a:rPr>
                <a:solidFill>
                  <a:schemeClr val="tx1">
                    <a:lumMod val="65000"/>
                    <a:lumOff val="35000"/>
                  </a:schemeClr>
                </a:solidFill>
                <a:latin typeface="Arial Unicode MS"/>
                <a:cs typeface="Arial Unicode MS"/>
              </a:rPr>
              <a:t> included in this </a:t>
            </a:r>
            <a:r>
              <a:rPr lang="en-US">
                <a:solidFill>
                  <a:schemeClr val="tx1">
                    <a:lumMod val="65000"/>
                    <a:lumOff val="35000"/>
                  </a:schemeClr>
                </a:solidFill>
                <a:latin typeface="Arial Unicode MS"/>
                <a:cs typeface="Arial Unicode MS"/>
              </a:rPr>
              <a:t>document</a:t>
            </a:r>
            <a:r>
              <a:rPr>
                <a:solidFill>
                  <a:schemeClr val="tx1">
                    <a:lumMod val="65000"/>
                    <a:lumOff val="35000"/>
                  </a:schemeClr>
                </a:solidFill>
                <a:latin typeface="Arial Unicode MS"/>
                <a:cs typeface="Arial Unicode MS"/>
              </a:rPr>
              <a:t>)</a:t>
            </a:r>
            <a:r>
              <a:rPr lang="en-US">
                <a:solidFill>
                  <a:schemeClr val="tx1">
                    <a:lumMod val="65000"/>
                    <a:lumOff val="35000"/>
                  </a:schemeClr>
                </a:solidFill>
                <a:latin typeface="Arial Unicode MS"/>
                <a:cs typeface="Arial Unicode MS"/>
              </a:rPr>
              <a:t>.</a:t>
            </a:r>
            <a:endParaRPr>
              <a:solidFill>
                <a:schemeClr val="tx1">
                  <a:lumMod val="65000"/>
                  <a:lumOff val="35000"/>
                </a:schemeClr>
              </a:solidFill>
              <a:latin typeface="Arial Unicode MS"/>
              <a:cs typeface="Arial Unicode MS"/>
            </a:endParaRPr>
          </a:p>
          <a:p>
            <a:pPr marL="12700" marR="291465">
              <a:spcBef>
                <a:spcPts val="1180"/>
              </a:spcBef>
            </a:pPr>
            <a:r>
              <a:rPr lang="en-US">
                <a:solidFill>
                  <a:schemeClr val="tx1">
                    <a:lumMod val="65000"/>
                    <a:lumOff val="35000"/>
                  </a:schemeClr>
                </a:solidFill>
              </a:rPr>
              <a:t>Emergency concerns, where the student is in imminent danger, should be reported immediately to the Police (as outlined in this document).</a:t>
            </a:r>
          </a:p>
          <a:p>
            <a:pPr marL="12700" marR="291465">
              <a:spcBef>
                <a:spcPts val="1180"/>
              </a:spcBef>
            </a:pPr>
            <a:r>
              <a:rPr lang="en-US">
                <a:solidFill>
                  <a:schemeClr val="tx1">
                    <a:lumMod val="65000"/>
                    <a:lumOff val="35000"/>
                  </a:schemeClr>
                </a:solidFill>
              </a:rPr>
              <a:t>If school staff notices signs of maltreatment that occurred outside the premises of the educational institution, they should inquire from the child about reasons for these signs and monitor recurrence of marks. If the suspicion of maltreatment persists, staff should notify the CPC or his/her representative at the school in his/her absence. </a:t>
            </a:r>
          </a:p>
          <a:p>
            <a:pPr marL="12700" marR="291465">
              <a:spcBef>
                <a:spcPts val="1180"/>
              </a:spcBef>
            </a:pPr>
            <a:r>
              <a:rPr lang="en-US">
                <a:solidFill>
                  <a:schemeClr val="tx1">
                    <a:lumMod val="65000"/>
                    <a:lumOff val="35000"/>
                  </a:schemeClr>
                </a:solidFill>
              </a:rPr>
              <a:t>Following that, the CPC or his/her representative should complete the Safety Concern Form online on the digital safety concern portal. Once submitted, a copy of the Safety Concern Form will then be automatically shared with the FCA, and the relevant CPU (</a:t>
            </a:r>
            <a:r>
              <a:rPr lang="en-US" err="1">
                <a:solidFill>
                  <a:schemeClr val="tx1">
                    <a:lumMod val="65000"/>
                    <a:lumOff val="35000"/>
                  </a:schemeClr>
                </a:solidFill>
              </a:rPr>
              <a:t>MoE</a:t>
            </a:r>
            <a:r>
              <a:rPr lang="en-US">
                <a:solidFill>
                  <a:schemeClr val="tx1">
                    <a:lumMod val="65000"/>
                    <a:lumOff val="35000"/>
                  </a:schemeClr>
                </a:solidFill>
              </a:rPr>
              <a:t> CPU or ADEK CPU in the Emirate of Abu Dhabi), and </a:t>
            </a:r>
            <a:r>
              <a:rPr lang="en-US" err="1">
                <a:solidFill>
                  <a:schemeClr val="tx1">
                    <a:lumMod val="65000"/>
                    <a:lumOff val="35000"/>
                  </a:schemeClr>
                </a:solidFill>
              </a:rPr>
              <a:t>MoI</a:t>
            </a:r>
            <a:r>
              <a:rPr lang="en-US">
                <a:solidFill>
                  <a:schemeClr val="tx1">
                    <a:lumMod val="65000"/>
                    <a:lumOff val="35000"/>
                  </a:schemeClr>
                </a:solidFill>
              </a:rPr>
              <a:t> CPC. The FCA would review the case and take necessary procedures for case management.</a:t>
            </a:r>
          </a:p>
          <a:p>
            <a:pPr marL="12700" marR="291465">
              <a:spcBef>
                <a:spcPts val="1180"/>
              </a:spcBef>
            </a:pPr>
            <a:endParaRPr lang="en-US">
              <a:solidFill>
                <a:schemeClr val="tx1">
                  <a:lumMod val="65000"/>
                  <a:lumOff val="35000"/>
                </a:schemeClr>
              </a:solidFill>
              <a:highlight>
                <a:srgbClr val="FFFF00"/>
              </a:highlight>
              <a:latin typeface="Arial Unicode MS"/>
              <a:ea typeface="Arial Unicode MS"/>
              <a:cs typeface="Arial Unicode MS"/>
            </a:endParaRPr>
          </a:p>
          <a:p>
            <a:pPr marL="12700" marR="291465">
              <a:spcBef>
                <a:spcPts val="1180"/>
              </a:spcBef>
            </a:pPr>
            <a:r>
              <a:rPr lang="en-US">
                <a:solidFill>
                  <a:schemeClr val="tx1">
                    <a:lumMod val="65000"/>
                    <a:lumOff val="35000"/>
                  </a:schemeClr>
                </a:solidFill>
              </a:rPr>
              <a:t>In case the child discloses to any staff of the educational institution that he/she is being maltreated by a person outside the educational institution, the CPC or his/her representative must be notified and the form must be filled, following the procedures stipulated above.</a:t>
            </a:r>
          </a:p>
        </p:txBody>
      </p:sp>
      <p:sp>
        <p:nvSpPr>
          <p:cNvPr id="5" name="object 33">
            <a:extLst>
              <a:ext uri="{FF2B5EF4-FFF2-40B4-BE49-F238E27FC236}">
                <a16:creationId xmlns:a16="http://schemas.microsoft.com/office/drawing/2014/main" id="{2D8C00A2-CB04-A751-4695-F0091293A3F1}"/>
              </a:ext>
            </a:extLst>
          </p:cNvPr>
          <p:cNvSpPr txBox="1"/>
          <p:nvPr/>
        </p:nvSpPr>
        <p:spPr>
          <a:xfrm>
            <a:off x="10737849" y="3252501"/>
            <a:ext cx="8458201" cy="6722353"/>
          </a:xfrm>
          <a:prstGeom prst="rect">
            <a:avLst/>
          </a:prstGeom>
        </p:spPr>
        <p:txBody>
          <a:bodyPr vert="horz" wrap="square" lIns="0" tIns="12700" rIns="0" bIns="0" numCol="1" spcCol="360000" rtlCol="0" anchor="t">
            <a:spAutoFit/>
          </a:bodyPr>
          <a:lstStyle/>
          <a:p>
            <a:pPr marL="12700" marR="5080">
              <a:spcBef>
                <a:spcPts val="1165"/>
              </a:spcBef>
            </a:pPr>
            <a:r>
              <a:rPr lang="en-US" dirty="0">
                <a:solidFill>
                  <a:schemeClr val="tx1">
                    <a:lumMod val="65000"/>
                    <a:lumOff val="35000"/>
                  </a:schemeClr>
                </a:solidFill>
              </a:rPr>
              <a:t>For child protection concerns that arise within the educational institution premises, that staff should report the incident to the CPC or his/her representative in the educational institution in his/her absence. Following that, the CPC or his/her representative completes the Safety Concern Form online on the digital safety concern portal</a:t>
            </a:r>
          </a:p>
          <a:p>
            <a:pPr marL="12700" marR="5080">
              <a:spcBef>
                <a:spcPts val="1165"/>
              </a:spcBef>
            </a:pPr>
            <a:r>
              <a:rPr lang="en-US" dirty="0">
                <a:solidFill>
                  <a:schemeClr val="tx1">
                    <a:lumMod val="65000"/>
                    <a:lumOff val="35000"/>
                  </a:schemeClr>
                </a:solidFill>
              </a:rPr>
              <a:t>Once submitted, a copy of the Safety Concern Form will then be automatically shared with the FCA, and the relevant CPU (</a:t>
            </a:r>
            <a:r>
              <a:rPr lang="en-US" dirty="0" err="1">
                <a:solidFill>
                  <a:schemeClr val="tx1">
                    <a:lumMod val="65000"/>
                    <a:lumOff val="35000"/>
                  </a:schemeClr>
                </a:solidFill>
              </a:rPr>
              <a:t>MoE</a:t>
            </a:r>
            <a:r>
              <a:rPr lang="en-US" dirty="0">
                <a:solidFill>
                  <a:schemeClr val="tx1">
                    <a:lumMod val="65000"/>
                    <a:lumOff val="35000"/>
                  </a:schemeClr>
                </a:solidFill>
              </a:rPr>
              <a:t> CPU or ADEK CPU in the Emirate of Abu Dhabi), and </a:t>
            </a:r>
            <a:r>
              <a:rPr lang="en-US" dirty="0" err="1">
                <a:solidFill>
                  <a:schemeClr val="tx1">
                    <a:lumMod val="65000"/>
                    <a:lumOff val="35000"/>
                  </a:schemeClr>
                </a:solidFill>
              </a:rPr>
              <a:t>MoI</a:t>
            </a:r>
            <a:r>
              <a:rPr lang="en-US" dirty="0">
                <a:solidFill>
                  <a:schemeClr val="tx1">
                    <a:lumMod val="65000"/>
                    <a:lumOff val="35000"/>
                  </a:schemeClr>
                </a:solidFill>
              </a:rPr>
              <a:t> CPC. The relevant CPU in the relevant educational institution will first review the information to conduct the necessary assessments, administrative procedures and child protection measures before referring to the FCA for case management when needed, depending on the severity and type of case. The FCA will then take the necessary measures to follow-up on the cases after receiving the report. </a:t>
            </a:r>
          </a:p>
          <a:p>
            <a:pPr marL="12700" marR="5080">
              <a:spcBef>
                <a:spcPts val="1165"/>
              </a:spcBef>
            </a:pPr>
            <a:r>
              <a:rPr lang="en-US" dirty="0">
                <a:solidFill>
                  <a:schemeClr val="tx1">
                    <a:lumMod val="65000"/>
                    <a:lumOff val="35000"/>
                  </a:schemeClr>
                </a:solidFill>
              </a:rPr>
              <a:t>The relevant CPU in education provides continuous administrative support (e.g., sharing relevant information to enable the Family Care Authority to conduct required assessments and other case management activities and requesting additional information from the educational institution).</a:t>
            </a:r>
          </a:p>
          <a:p>
            <a:pPr marL="12700" marR="5080">
              <a:spcBef>
                <a:spcPts val="1165"/>
              </a:spcBef>
            </a:pPr>
            <a:r>
              <a:rPr lang="en-US" dirty="0">
                <a:solidFill>
                  <a:schemeClr val="tx1">
                    <a:lumMod val="65000"/>
                    <a:lumOff val="35000"/>
                  </a:schemeClr>
                </a:solidFill>
              </a:rPr>
              <a:t>If there is no need for relevant CPU to submit a report to FCA depending on severity and type of case, </a:t>
            </a:r>
            <a:r>
              <a:rPr lang="en-US">
                <a:solidFill>
                  <a:schemeClr val="tx1">
                    <a:lumMod val="65000"/>
                    <a:lumOff val="35000"/>
                  </a:schemeClr>
                </a:solidFill>
              </a:rPr>
              <a:t>the follow-up </a:t>
            </a:r>
            <a:r>
              <a:rPr lang="en-US" dirty="0">
                <a:solidFill>
                  <a:schemeClr val="tx1">
                    <a:lumMod val="65000"/>
                    <a:lumOff val="35000"/>
                  </a:schemeClr>
                </a:solidFill>
              </a:rPr>
              <a:t>of the case will be handled by the relevant CPU.</a:t>
            </a:r>
          </a:p>
          <a:p>
            <a:pPr marL="12700" marR="5080">
              <a:spcBef>
                <a:spcPts val="1165"/>
              </a:spcBef>
            </a:pPr>
            <a:r>
              <a:rPr lang="en-US" dirty="0">
                <a:solidFill>
                  <a:schemeClr val="tx1">
                    <a:lumMod val="65000"/>
                    <a:lumOff val="35000"/>
                  </a:schemeClr>
                </a:solidFill>
              </a:rPr>
              <a:t>In all cases, the relevant CPU maintains record of concerns reported and responded to. </a:t>
            </a:r>
          </a:p>
        </p:txBody>
      </p:sp>
      <p:pic>
        <p:nvPicPr>
          <p:cNvPr id="15" name="Graphic 14">
            <a:extLst>
              <a:ext uri="{FF2B5EF4-FFF2-40B4-BE49-F238E27FC236}">
                <a16:creationId xmlns:a16="http://schemas.microsoft.com/office/drawing/2014/main" id="{89777728-1247-4FB7-D608-194CE71F4A3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468857" y="8924616"/>
            <a:ext cx="1799071" cy="1799071"/>
          </a:xfrm>
          <a:prstGeom prst="rect">
            <a:avLst/>
          </a:prstGeom>
        </p:spPr>
      </p:pic>
      <p:pic>
        <p:nvPicPr>
          <p:cNvPr id="16" name="Graphic 15">
            <a:extLst>
              <a:ext uri="{FF2B5EF4-FFF2-40B4-BE49-F238E27FC236}">
                <a16:creationId xmlns:a16="http://schemas.microsoft.com/office/drawing/2014/main" id="{AC0B5F2E-F4DD-44BA-C64B-A2DD798CD84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299450" y="-517525"/>
            <a:ext cx="1088572" cy="1088572"/>
          </a:xfrm>
          <a:prstGeom prst="rect">
            <a:avLst/>
          </a:prstGeom>
        </p:spPr>
      </p:pic>
      <p:pic>
        <p:nvPicPr>
          <p:cNvPr id="17" name="Graphic 16">
            <a:extLst>
              <a:ext uri="{FF2B5EF4-FFF2-40B4-BE49-F238E27FC236}">
                <a16:creationId xmlns:a16="http://schemas.microsoft.com/office/drawing/2014/main" id="{A024BE92-A6ED-D165-6926-1A317C1BDC5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71219" y="10531475"/>
            <a:ext cx="562154" cy="562154"/>
          </a:xfrm>
          <a:prstGeom prst="rect">
            <a:avLst/>
          </a:prstGeom>
        </p:spPr>
      </p:pic>
      <p:sp>
        <p:nvSpPr>
          <p:cNvPr id="18" name="object 2">
            <a:extLst>
              <a:ext uri="{FF2B5EF4-FFF2-40B4-BE49-F238E27FC236}">
                <a16:creationId xmlns:a16="http://schemas.microsoft.com/office/drawing/2014/main" id="{3623C45A-2ED9-7A94-5F8D-47B6809644B8}"/>
              </a:ext>
            </a:extLst>
          </p:cNvPr>
          <p:cNvSpPr txBox="1">
            <a:spLocks/>
          </p:cNvSpPr>
          <p:nvPr/>
        </p:nvSpPr>
        <p:spPr>
          <a:xfrm>
            <a:off x="679450" y="681026"/>
            <a:ext cx="12801600" cy="512063"/>
          </a:xfrm>
          <a:prstGeom prst="rect">
            <a:avLst/>
          </a:prstGeom>
        </p:spPr>
        <p:txBody>
          <a:bodyPr vert="horz" wrap="square" lIns="0" tIns="1333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spcBef>
                <a:spcPts val="114"/>
              </a:spcBef>
            </a:pPr>
            <a:r>
              <a:rPr lang="en-US" sz="3600" b="1">
                <a:solidFill>
                  <a:schemeClr val="accent3"/>
                </a:solidFill>
                <a:latin typeface="Tahoma"/>
                <a:cs typeface="Tahoma"/>
              </a:rPr>
              <a:t>PROVISIONS</a:t>
            </a:r>
          </a:p>
        </p:txBody>
      </p:sp>
    </p:spTree>
    <p:extLst>
      <p:ext uri="{BB962C8B-B14F-4D97-AF65-F5344CB8AC3E}">
        <p14:creationId xmlns:p14="http://schemas.microsoft.com/office/powerpoint/2010/main" val="30011206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81,17,Slide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UFOC colors">
      <a:dk1>
        <a:srgbClr val="000000"/>
      </a:dk1>
      <a:lt1>
        <a:srgbClr val="FFFFFF"/>
      </a:lt1>
      <a:dk2>
        <a:srgbClr val="F28808"/>
      </a:dk2>
      <a:lt2>
        <a:srgbClr val="53B0C5"/>
      </a:lt2>
      <a:accent1>
        <a:srgbClr val="D95022"/>
      </a:accent1>
      <a:accent2>
        <a:srgbClr val="7FBC80"/>
      </a:accent2>
      <a:accent3>
        <a:srgbClr val="EEA194"/>
      </a:accent3>
      <a:accent4>
        <a:srgbClr val="EECE48"/>
      </a:accent4>
      <a:accent5>
        <a:srgbClr val="5E417B"/>
      </a:accent5>
      <a:accent6>
        <a:srgbClr val="40A5A5"/>
      </a:accent6>
      <a:hlink>
        <a:srgbClr val="F28804"/>
      </a:hlink>
      <a:folHlink>
        <a:srgbClr val="53B0C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UFOC colors">
      <a:dk1>
        <a:srgbClr val="000000"/>
      </a:dk1>
      <a:lt1>
        <a:srgbClr val="FFFFFF"/>
      </a:lt1>
      <a:dk2>
        <a:srgbClr val="F28808"/>
      </a:dk2>
      <a:lt2>
        <a:srgbClr val="53B0C5"/>
      </a:lt2>
      <a:accent1>
        <a:srgbClr val="D95022"/>
      </a:accent1>
      <a:accent2>
        <a:srgbClr val="7FBC80"/>
      </a:accent2>
      <a:accent3>
        <a:srgbClr val="EEA194"/>
      </a:accent3>
      <a:accent4>
        <a:srgbClr val="EECE48"/>
      </a:accent4>
      <a:accent5>
        <a:srgbClr val="5E417B"/>
      </a:accent5>
      <a:accent6>
        <a:srgbClr val="40A5A5"/>
      </a:accent6>
      <a:hlink>
        <a:srgbClr val="F28804"/>
      </a:hlink>
      <a:folHlink>
        <a:srgbClr val="53B0C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3.xml><?xml version="1.0" encoding="utf-8"?>
<a:theme xmlns:a="http://schemas.openxmlformats.org/drawingml/2006/main" name="1_Office Theme">
  <a:themeElements>
    <a:clrScheme name="UFOC colors">
      <a:dk1>
        <a:srgbClr val="000000"/>
      </a:dk1>
      <a:lt1>
        <a:srgbClr val="FFFFFF"/>
      </a:lt1>
      <a:dk2>
        <a:srgbClr val="F28808"/>
      </a:dk2>
      <a:lt2>
        <a:srgbClr val="53B0C5"/>
      </a:lt2>
      <a:accent1>
        <a:srgbClr val="D95022"/>
      </a:accent1>
      <a:accent2>
        <a:srgbClr val="7FBC80"/>
      </a:accent2>
      <a:accent3>
        <a:srgbClr val="EEA194"/>
      </a:accent3>
      <a:accent4>
        <a:srgbClr val="EECE48"/>
      </a:accent4>
      <a:accent5>
        <a:srgbClr val="5E417B"/>
      </a:accent5>
      <a:accent6>
        <a:srgbClr val="40A5A5"/>
      </a:accent6>
      <a:hlink>
        <a:srgbClr val="F28804"/>
      </a:hlink>
      <a:folHlink>
        <a:srgbClr val="53B0C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4FEC5E2BC79DB49A5AA77C9DADCB305" ma:contentTypeVersion="16" ma:contentTypeDescription="Create a new document." ma:contentTypeScope="" ma:versionID="e1afce9a581e62a39953727fc804d8d3">
  <xsd:schema xmlns:xsd="http://www.w3.org/2001/XMLSchema" xmlns:xs="http://www.w3.org/2001/XMLSchema" xmlns:p="http://schemas.microsoft.com/office/2006/metadata/properties" xmlns:ns3="3559897c-ce0c-4e30-a847-319fd909b6b9" xmlns:ns4="4d56d57c-aa19-4894-9be5-6eba9cab275f" targetNamespace="http://schemas.microsoft.com/office/2006/metadata/properties" ma:root="true" ma:fieldsID="8c419b1185fa22a03a73c0b43fea7d31" ns3:_="" ns4:_="">
    <xsd:import namespace="3559897c-ce0c-4e30-a847-319fd909b6b9"/>
    <xsd:import namespace="4d56d57c-aa19-4894-9be5-6eba9cab275f"/>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ObjectDetectorVersions" minOccurs="0"/>
                <xsd:element ref="ns3:_activity"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LengthInSeconds" minOccurs="0"/>
                <xsd:element ref="ns3:MediaServiceSystemTags" minOccurs="0"/>
                <xsd:element ref="ns3:MediaServiceSearchPropertie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559897c-ce0c-4e30-a847-319fd909b6b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_activity" ma:index="14" nillable="true" ma:displayName="_activity" ma:hidden="true" ma:internalName="_activity">
      <xsd:simpleType>
        <xsd:restriction base="dms:Note"/>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MediaServiceSystemTags" ma:index="21" nillable="true" ma:displayName="MediaServiceSystemTags" ma:hidden="true" ma:internalName="MediaServiceSystemTags" ma:readOnly="true">
      <xsd:simpleType>
        <xsd:restriction base="dms:Note"/>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Location" ma:index="23"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d56d57c-aa19-4894-9be5-6eba9cab275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3559897c-ce0c-4e30-a847-319fd909b6b9" xsi:nil="true"/>
  </documentManagement>
</p:properties>
</file>

<file path=customXml/itemProps1.xml><?xml version="1.0" encoding="utf-8"?>
<ds:datastoreItem xmlns:ds="http://schemas.openxmlformats.org/officeDocument/2006/customXml" ds:itemID="{504A3346-AF4D-4A0D-9D05-16AD3D126454}">
  <ds:schemaRefs>
    <ds:schemaRef ds:uri="http://schemas.microsoft.com/sharepoint/v3/contenttype/forms"/>
  </ds:schemaRefs>
</ds:datastoreItem>
</file>

<file path=customXml/itemProps2.xml><?xml version="1.0" encoding="utf-8"?>
<ds:datastoreItem xmlns:ds="http://schemas.openxmlformats.org/officeDocument/2006/customXml" ds:itemID="{29BCC980-8B42-4153-B227-9D51D74CB8DB}">
  <ds:schemaRefs>
    <ds:schemaRef ds:uri="3559897c-ce0c-4e30-a847-319fd909b6b9"/>
    <ds:schemaRef ds:uri="4d56d57c-aa19-4894-9be5-6eba9cab275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3CE81FC-DE92-472E-A8C8-3D160F517DC0}">
  <ds:schemaRefs>
    <ds:schemaRef ds:uri="http://schemas.microsoft.com/office/infopath/2007/PartnerControls"/>
    <ds:schemaRef ds:uri="http://www.w3.org/XML/1998/namespace"/>
    <ds:schemaRef ds:uri="4d56d57c-aa19-4894-9be5-6eba9cab275f"/>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3559897c-ce0c-4e30-a847-319fd909b6b9"/>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4</TotalTime>
  <Words>6919</Words>
  <Application>Microsoft Office PowerPoint</Application>
  <PresentationFormat>Custom</PresentationFormat>
  <Paragraphs>264</Paragraphs>
  <Slides>17</Slides>
  <Notes>9</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9" baseType="lpstr">
      <vt:lpstr>Arial</vt:lpstr>
      <vt:lpstr>Arial Unicode MS</vt:lpstr>
      <vt:lpstr>Arial,Sans-Serif</vt:lpstr>
      <vt:lpstr>Calibri</vt:lpstr>
      <vt:lpstr>Lucida Sans</vt:lpstr>
      <vt:lpstr>Nexa Black</vt:lpstr>
      <vt:lpstr>Nexa Book</vt:lpstr>
      <vt:lpstr>Tahoma</vt:lpstr>
      <vt:lpstr>Office Theme</vt:lpstr>
      <vt:lpstr>Custom Design</vt:lpstr>
      <vt:lpstr>1_Office Theme</vt:lpstr>
      <vt:lpstr>think-cell Slide</vt:lpstr>
      <vt:lpstr>Student Protection Policy for Educational Institutions  Provisions for the Implementation of the Child Protection Policy in Educational Institutions in Abu Dhab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A Powerpoint Template</dc:title>
  <dc:creator>Nour Oueidat</dc:creator>
  <cp:lastModifiedBy>Bhavya Madan (MiddleEast)</cp:lastModifiedBy>
  <cp:revision>6</cp:revision>
  <dcterms:created xsi:type="dcterms:W3CDTF">2023-01-09T06:43:22Z</dcterms:created>
  <dcterms:modified xsi:type="dcterms:W3CDTF">2024-09-30T12:46: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3-01-09T00:00:00Z</vt:filetime>
  </property>
  <property fmtid="{D5CDD505-2E9C-101B-9397-08002B2CF9AE}" pid="3" name="Creator">
    <vt:lpwstr>Adobe Illustrator 25.0 (Macintosh)</vt:lpwstr>
  </property>
  <property fmtid="{D5CDD505-2E9C-101B-9397-08002B2CF9AE}" pid="4" name="CreatorVersion">
    <vt:lpwstr>21.0.0</vt:lpwstr>
  </property>
  <property fmtid="{D5CDD505-2E9C-101B-9397-08002B2CF9AE}" pid="5" name="LastSaved">
    <vt:filetime>2023-01-09T00:00:00Z</vt:filetime>
  </property>
  <property fmtid="{D5CDD505-2E9C-101B-9397-08002B2CF9AE}" pid="6" name="Producer">
    <vt:lpwstr>Adobe PDF library 15.00</vt:lpwstr>
  </property>
  <property fmtid="{D5CDD505-2E9C-101B-9397-08002B2CF9AE}" pid="7" name="ContentTypeId">
    <vt:lpwstr>0x01010064FEC5E2BC79DB49A5AA77C9DADCB305</vt:lpwstr>
  </property>
  <property fmtid="{D5CDD505-2E9C-101B-9397-08002B2CF9AE}" pid="8" name="MediaServiceImageTags">
    <vt:lpwstr/>
  </property>
</Properties>
</file>